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3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1"/>
    <p:sldMasterId id="2147483798" r:id="rId2"/>
    <p:sldMasterId id="2147483831" r:id="rId3"/>
    <p:sldMasterId id="2147483845" r:id="rId4"/>
    <p:sldMasterId id="2147483854" r:id="rId5"/>
  </p:sldMasterIdLst>
  <p:notesMasterIdLst>
    <p:notesMasterId r:id="rId34"/>
  </p:notesMasterIdLst>
  <p:handoutMasterIdLst>
    <p:handoutMasterId r:id="rId35"/>
  </p:handoutMasterIdLst>
  <p:sldIdLst>
    <p:sldId id="401" r:id="rId6"/>
    <p:sldId id="403" r:id="rId7"/>
    <p:sldId id="402" r:id="rId8"/>
    <p:sldId id="376" r:id="rId9"/>
    <p:sldId id="360" r:id="rId10"/>
    <p:sldId id="361" r:id="rId11"/>
    <p:sldId id="364" r:id="rId12"/>
    <p:sldId id="362" r:id="rId13"/>
    <p:sldId id="377" r:id="rId14"/>
    <p:sldId id="390" r:id="rId15"/>
    <p:sldId id="391" r:id="rId16"/>
    <p:sldId id="380" r:id="rId17"/>
    <p:sldId id="381" r:id="rId18"/>
    <p:sldId id="369" r:id="rId19"/>
    <p:sldId id="408" r:id="rId20"/>
    <p:sldId id="382" r:id="rId21"/>
    <p:sldId id="372" r:id="rId22"/>
    <p:sldId id="366" r:id="rId23"/>
    <p:sldId id="397" r:id="rId24"/>
    <p:sldId id="388" r:id="rId25"/>
    <p:sldId id="409" r:id="rId26"/>
    <p:sldId id="374" r:id="rId27"/>
    <p:sldId id="404" r:id="rId28"/>
    <p:sldId id="405" r:id="rId29"/>
    <p:sldId id="406" r:id="rId30"/>
    <p:sldId id="410" r:id="rId31"/>
    <p:sldId id="392" r:id="rId32"/>
    <p:sldId id="352" r:id="rId33"/>
  </p:sldIdLst>
  <p:sldSz cx="9144000" cy="5143500" type="screen16x9"/>
  <p:notesSz cx="6858000" cy="9144000"/>
  <p:custDataLst>
    <p:tags r:id="rId36"/>
  </p:custDataLst>
  <p:defaultTex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p:defaultTextStyle>
  <p:extLst>
    <p:ext uri="{EFAFB233-063F-42B5-8137-9DF3F51BA10A}">
      <p15:sldGuideLst xmlns:p15="http://schemas.microsoft.com/office/powerpoint/2012/main">
        <p15:guide id="1" orient="horz" pos="1597" userDrawn="1">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B0F0"/>
    <a:srgbClr val="026AA0"/>
    <a:srgbClr val="68717A"/>
    <a:srgbClr val="A8BBC0"/>
    <a:srgbClr val="F86C6C"/>
    <a:srgbClr val="ED9D9D"/>
    <a:srgbClr val="124192"/>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81" autoAdjust="0"/>
    <p:restoredTop sz="74601" autoAdjust="0"/>
  </p:normalViewPr>
  <p:slideViewPr>
    <p:cSldViewPr snapToGrid="0">
      <p:cViewPr varScale="1">
        <p:scale>
          <a:sx n="77" d="100"/>
          <a:sy n="77" d="100"/>
        </p:scale>
        <p:origin x="1762" y="-197"/>
      </p:cViewPr>
      <p:guideLst>
        <p:guide orient="horz" pos="1597"/>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8" d="100"/>
          <a:sy n="88" d="100"/>
        </p:scale>
        <p:origin x="-3870" y="-12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6EF3B38-8C3E-4EBA-90E3-64C5B6998E58}" type="doc">
      <dgm:prSet loTypeId="urn:microsoft.com/office/officeart/2005/8/layout/hList1" loCatId="list" qsTypeId="urn:microsoft.com/office/officeart/2005/8/quickstyle/simple1" qsCatId="simple" csTypeId="urn:microsoft.com/office/officeart/2005/8/colors/accent4_2" csCatId="accent4" phldr="1"/>
      <dgm:spPr/>
      <dgm:t>
        <a:bodyPr/>
        <a:lstStyle/>
        <a:p>
          <a:endParaRPr lang="en-US"/>
        </a:p>
      </dgm:t>
    </dgm:pt>
    <dgm:pt modelId="{A9567E77-85A9-4156-898B-C39DECCF53E0}">
      <dgm:prSet phldrT="[Text]" custT="1"/>
      <dgm:spPr>
        <a:solidFill>
          <a:schemeClr val="tx1"/>
        </a:solidFill>
      </dgm:spPr>
      <dgm:t>
        <a:bodyPr/>
        <a:lstStyle/>
        <a:p>
          <a:r>
            <a:rPr lang="en-US" sz="1400" b="1" dirty="0"/>
            <a:t>Defect-based techniques</a:t>
          </a:r>
        </a:p>
      </dgm:t>
    </dgm:pt>
    <dgm:pt modelId="{AB08C5E1-2619-41E1-AC3F-6D83C17ECE8E}" type="parTrans" cxnId="{28312974-3BC1-47B4-B54E-99CC6B3BE5A3}">
      <dgm:prSet/>
      <dgm:spPr/>
      <dgm:t>
        <a:bodyPr/>
        <a:lstStyle/>
        <a:p>
          <a:endParaRPr lang="en-US" sz="2000"/>
        </a:p>
      </dgm:t>
    </dgm:pt>
    <dgm:pt modelId="{B8BC12DB-C6BB-4505-9796-0037EC320FFC}" type="sibTrans" cxnId="{28312974-3BC1-47B4-B54E-99CC6B3BE5A3}">
      <dgm:prSet/>
      <dgm:spPr/>
      <dgm:t>
        <a:bodyPr/>
        <a:lstStyle/>
        <a:p>
          <a:endParaRPr lang="en-US" sz="2000"/>
        </a:p>
      </dgm:t>
    </dgm:pt>
    <dgm:pt modelId="{566A312E-0192-427D-BE3D-F3F31C701366}">
      <dgm:prSet phldrT="[Text]" custT="1"/>
      <dgm:spPr/>
      <dgm:t>
        <a:bodyPr/>
        <a:lstStyle/>
        <a:p>
          <a:r>
            <a:rPr lang="en-US" sz="1400" dirty="0"/>
            <a:t>Taxonomies</a:t>
          </a:r>
        </a:p>
      </dgm:t>
    </dgm:pt>
    <dgm:pt modelId="{D6DB6801-634C-4D28-982E-D7DBD1210635}" type="parTrans" cxnId="{4E9EB466-3A9D-4E6B-A935-52050E7F83AB}">
      <dgm:prSet/>
      <dgm:spPr/>
      <dgm:t>
        <a:bodyPr/>
        <a:lstStyle/>
        <a:p>
          <a:endParaRPr lang="en-US" sz="2000"/>
        </a:p>
      </dgm:t>
    </dgm:pt>
    <dgm:pt modelId="{D52D0E0A-836C-4C9C-B6F9-5041B35D947C}" type="sibTrans" cxnId="{4E9EB466-3A9D-4E6B-A935-52050E7F83AB}">
      <dgm:prSet/>
      <dgm:spPr/>
      <dgm:t>
        <a:bodyPr/>
        <a:lstStyle/>
        <a:p>
          <a:endParaRPr lang="en-US" sz="2000"/>
        </a:p>
      </dgm:t>
    </dgm:pt>
    <dgm:pt modelId="{9D4EBB09-5CE5-4AA3-9180-D89A0C0BDE45}">
      <dgm:prSet phldrT="[Text]" custT="1"/>
      <dgm:spPr>
        <a:solidFill>
          <a:schemeClr val="tx1"/>
        </a:solidFill>
      </dgm:spPr>
      <dgm:t>
        <a:bodyPr/>
        <a:lstStyle/>
        <a:p>
          <a:r>
            <a:rPr lang="en-US" sz="1400" b="1" dirty="0"/>
            <a:t>Specification-based or Black-box techniques</a:t>
          </a:r>
        </a:p>
      </dgm:t>
    </dgm:pt>
    <dgm:pt modelId="{6D1E30A5-5279-4129-8FBF-911705F9FB13}" type="parTrans" cxnId="{F9A18262-FAFE-44DC-BC35-BE79FF2E6756}">
      <dgm:prSet/>
      <dgm:spPr/>
      <dgm:t>
        <a:bodyPr/>
        <a:lstStyle/>
        <a:p>
          <a:endParaRPr lang="en-US" sz="2000"/>
        </a:p>
      </dgm:t>
    </dgm:pt>
    <dgm:pt modelId="{01CE441B-9995-45B2-BAE6-672099B82568}" type="sibTrans" cxnId="{F9A18262-FAFE-44DC-BC35-BE79FF2E6756}">
      <dgm:prSet/>
      <dgm:spPr/>
      <dgm:t>
        <a:bodyPr/>
        <a:lstStyle/>
        <a:p>
          <a:endParaRPr lang="en-US" sz="2000"/>
        </a:p>
      </dgm:t>
    </dgm:pt>
    <dgm:pt modelId="{6242F004-5CF0-4363-843D-F31038303B21}">
      <dgm:prSet phldrT="[Text]" custT="1"/>
      <dgm:spPr/>
      <dgm:t>
        <a:bodyPr/>
        <a:lstStyle/>
        <a:p>
          <a:r>
            <a:rPr lang="en-US" sz="1400" b="0" dirty="0"/>
            <a:t>EP</a:t>
          </a:r>
        </a:p>
      </dgm:t>
    </dgm:pt>
    <dgm:pt modelId="{48C219F9-64CB-4ECD-ADE6-AF38640320D1}" type="parTrans" cxnId="{7A9B1D10-DC89-4878-B584-1BDCA88D0C80}">
      <dgm:prSet/>
      <dgm:spPr/>
      <dgm:t>
        <a:bodyPr/>
        <a:lstStyle/>
        <a:p>
          <a:endParaRPr lang="en-US" sz="2000"/>
        </a:p>
      </dgm:t>
    </dgm:pt>
    <dgm:pt modelId="{F8193165-E930-4E04-8787-E6F56F6DD1F6}" type="sibTrans" cxnId="{7A9B1D10-DC89-4878-B584-1BDCA88D0C80}">
      <dgm:prSet/>
      <dgm:spPr/>
      <dgm:t>
        <a:bodyPr/>
        <a:lstStyle/>
        <a:p>
          <a:endParaRPr lang="en-US" sz="2000"/>
        </a:p>
      </dgm:t>
    </dgm:pt>
    <dgm:pt modelId="{852275E1-2D99-4126-90AB-91D035AF922C}">
      <dgm:prSet phldrT="[Text]" custT="1"/>
      <dgm:spPr>
        <a:solidFill>
          <a:schemeClr val="tx1"/>
        </a:solidFill>
      </dgm:spPr>
      <dgm:t>
        <a:bodyPr/>
        <a:lstStyle/>
        <a:p>
          <a:r>
            <a:rPr lang="en-US" sz="1400" b="1" dirty="0"/>
            <a:t>Structure-based or White-box techniques</a:t>
          </a:r>
        </a:p>
      </dgm:t>
    </dgm:pt>
    <dgm:pt modelId="{C307A28B-3CE6-4B2E-898B-008C1CC4D66D}" type="parTrans" cxnId="{E2D05625-F5AD-4C6D-A4C7-4E66E64404C8}">
      <dgm:prSet/>
      <dgm:spPr/>
      <dgm:t>
        <a:bodyPr/>
        <a:lstStyle/>
        <a:p>
          <a:endParaRPr lang="en-US" sz="2000"/>
        </a:p>
      </dgm:t>
    </dgm:pt>
    <dgm:pt modelId="{6AE4778C-CD26-457A-A41B-ABE020A56AED}" type="sibTrans" cxnId="{E2D05625-F5AD-4C6D-A4C7-4E66E64404C8}">
      <dgm:prSet/>
      <dgm:spPr/>
      <dgm:t>
        <a:bodyPr/>
        <a:lstStyle/>
        <a:p>
          <a:endParaRPr lang="en-US" sz="2000"/>
        </a:p>
      </dgm:t>
    </dgm:pt>
    <dgm:pt modelId="{FF0EF37E-E6B6-45CC-90C4-FCC487F34045}">
      <dgm:prSet phldrT="[Text]" custT="1"/>
      <dgm:spPr>
        <a:solidFill>
          <a:schemeClr val="tx1"/>
        </a:solidFill>
      </dgm:spPr>
      <dgm:t>
        <a:bodyPr/>
        <a:lstStyle/>
        <a:p>
          <a:r>
            <a:rPr lang="en-US" sz="1400" b="1" dirty="0"/>
            <a:t>Experience-based techniques</a:t>
          </a:r>
        </a:p>
      </dgm:t>
    </dgm:pt>
    <dgm:pt modelId="{2054F523-1170-4059-B725-E7E8E25DD549}" type="parTrans" cxnId="{3D97F20E-0626-4062-AF39-24A745DD36BA}">
      <dgm:prSet/>
      <dgm:spPr/>
      <dgm:t>
        <a:bodyPr/>
        <a:lstStyle/>
        <a:p>
          <a:endParaRPr lang="en-US" sz="2000"/>
        </a:p>
      </dgm:t>
    </dgm:pt>
    <dgm:pt modelId="{61B9B782-556F-4297-8296-56978F25559E}" type="sibTrans" cxnId="{3D97F20E-0626-4062-AF39-24A745DD36BA}">
      <dgm:prSet/>
      <dgm:spPr/>
      <dgm:t>
        <a:bodyPr/>
        <a:lstStyle/>
        <a:p>
          <a:endParaRPr lang="en-US" sz="2000"/>
        </a:p>
      </dgm:t>
    </dgm:pt>
    <dgm:pt modelId="{B88CE8F3-E6B4-4892-AA64-2B7258AEFDF3}">
      <dgm:prSet custT="1"/>
      <dgm:spPr/>
      <dgm:t>
        <a:bodyPr/>
        <a:lstStyle/>
        <a:p>
          <a:r>
            <a:rPr lang="en-US" sz="1400" b="0" dirty="0"/>
            <a:t>BVA</a:t>
          </a:r>
        </a:p>
      </dgm:t>
    </dgm:pt>
    <dgm:pt modelId="{4FED41F9-CB9D-4145-B8D6-BBB57961794F}" type="parTrans" cxnId="{E2D5F33E-7EAF-4B8D-9E01-FF44D8A71ADB}">
      <dgm:prSet/>
      <dgm:spPr/>
      <dgm:t>
        <a:bodyPr/>
        <a:lstStyle/>
        <a:p>
          <a:endParaRPr lang="en-US" sz="2000"/>
        </a:p>
      </dgm:t>
    </dgm:pt>
    <dgm:pt modelId="{93AE9D43-A999-4C44-AD23-0AA08CE9BE71}" type="sibTrans" cxnId="{E2D5F33E-7EAF-4B8D-9E01-FF44D8A71ADB}">
      <dgm:prSet/>
      <dgm:spPr/>
      <dgm:t>
        <a:bodyPr/>
        <a:lstStyle/>
        <a:p>
          <a:endParaRPr lang="en-US" sz="2000"/>
        </a:p>
      </dgm:t>
    </dgm:pt>
    <dgm:pt modelId="{7BF5ECB1-7074-4F45-8ADE-27BF66E6D1A4}">
      <dgm:prSet custT="1"/>
      <dgm:spPr/>
      <dgm:t>
        <a:bodyPr/>
        <a:lstStyle/>
        <a:p>
          <a:r>
            <a:rPr lang="en-US" sz="1400" b="0" dirty="0"/>
            <a:t>Decision table testing</a:t>
          </a:r>
        </a:p>
      </dgm:t>
    </dgm:pt>
    <dgm:pt modelId="{F3D1301F-C5ED-416F-8126-8349C6853227}" type="parTrans" cxnId="{6844F7B3-319B-48BA-9915-1A60E155EEAC}">
      <dgm:prSet/>
      <dgm:spPr/>
      <dgm:t>
        <a:bodyPr/>
        <a:lstStyle/>
        <a:p>
          <a:endParaRPr lang="en-US" sz="2000"/>
        </a:p>
      </dgm:t>
    </dgm:pt>
    <dgm:pt modelId="{F3F77C9E-C24C-4851-A168-ACD7B37E15CA}" type="sibTrans" cxnId="{6844F7B3-319B-48BA-9915-1A60E155EEAC}">
      <dgm:prSet/>
      <dgm:spPr/>
      <dgm:t>
        <a:bodyPr/>
        <a:lstStyle/>
        <a:p>
          <a:endParaRPr lang="en-US" sz="2000"/>
        </a:p>
      </dgm:t>
    </dgm:pt>
    <dgm:pt modelId="{C7DCE2FA-B33F-4360-BFF8-FF90C7EE7792}">
      <dgm:prSet custT="1"/>
      <dgm:spPr/>
      <dgm:t>
        <a:bodyPr/>
        <a:lstStyle/>
        <a:p>
          <a:r>
            <a:rPr lang="en-US" sz="1400" b="0" dirty="0"/>
            <a:t>State transition testing</a:t>
          </a:r>
        </a:p>
      </dgm:t>
    </dgm:pt>
    <dgm:pt modelId="{8F9C1512-FDCD-46DE-BD10-851D73682C61}" type="parTrans" cxnId="{5F48B7D1-4D19-481E-B77D-A5F928626F55}">
      <dgm:prSet/>
      <dgm:spPr/>
      <dgm:t>
        <a:bodyPr/>
        <a:lstStyle/>
        <a:p>
          <a:endParaRPr lang="en-US" sz="2000"/>
        </a:p>
      </dgm:t>
    </dgm:pt>
    <dgm:pt modelId="{664316AA-48CF-471D-987D-EEBA36A50387}" type="sibTrans" cxnId="{5F48B7D1-4D19-481E-B77D-A5F928626F55}">
      <dgm:prSet/>
      <dgm:spPr/>
      <dgm:t>
        <a:bodyPr/>
        <a:lstStyle/>
        <a:p>
          <a:endParaRPr lang="en-US" sz="2000"/>
        </a:p>
      </dgm:t>
    </dgm:pt>
    <dgm:pt modelId="{BE5D2E06-7A59-4F6F-A8D8-AB513601BBBF}">
      <dgm:prSet custT="1"/>
      <dgm:spPr/>
      <dgm:t>
        <a:bodyPr/>
        <a:lstStyle/>
        <a:p>
          <a:r>
            <a:rPr lang="en-US" sz="1400" b="0" dirty="0"/>
            <a:t>Orthogonal arrays / all pairs tables</a:t>
          </a:r>
        </a:p>
      </dgm:t>
    </dgm:pt>
    <dgm:pt modelId="{E7B5D3CA-B7FB-4D76-B1BA-21C2C426777C}" type="parTrans" cxnId="{76D2D279-1B83-4404-BA7F-E040A180487C}">
      <dgm:prSet/>
      <dgm:spPr/>
      <dgm:t>
        <a:bodyPr/>
        <a:lstStyle/>
        <a:p>
          <a:endParaRPr lang="en-US" sz="2000"/>
        </a:p>
      </dgm:t>
    </dgm:pt>
    <dgm:pt modelId="{417E1431-B4AE-4FFD-9637-50CA0F448FCA}" type="sibTrans" cxnId="{76D2D279-1B83-4404-BA7F-E040A180487C}">
      <dgm:prSet/>
      <dgm:spPr/>
      <dgm:t>
        <a:bodyPr/>
        <a:lstStyle/>
        <a:p>
          <a:endParaRPr lang="en-US" sz="2000"/>
        </a:p>
      </dgm:t>
    </dgm:pt>
    <dgm:pt modelId="{96492438-2A20-4851-8D8F-0143A7A6FDD4}">
      <dgm:prSet custT="1"/>
      <dgm:spPr/>
      <dgm:t>
        <a:bodyPr/>
        <a:lstStyle/>
        <a:p>
          <a:r>
            <a:rPr lang="en-US" sz="1400" b="0" dirty="0"/>
            <a:t>Use case testing</a:t>
          </a:r>
        </a:p>
      </dgm:t>
    </dgm:pt>
    <dgm:pt modelId="{5F775B0F-A7F2-44E5-9C9F-3815C6F91F85}" type="parTrans" cxnId="{8CD8A4EC-16EC-423C-9E13-BC987AFAE27A}">
      <dgm:prSet/>
      <dgm:spPr/>
      <dgm:t>
        <a:bodyPr/>
        <a:lstStyle/>
        <a:p>
          <a:endParaRPr lang="en-US" sz="2000"/>
        </a:p>
      </dgm:t>
    </dgm:pt>
    <dgm:pt modelId="{62A83E89-020E-408C-8C16-29DE40B0019F}" type="sibTrans" cxnId="{8CD8A4EC-16EC-423C-9E13-BC987AFAE27A}">
      <dgm:prSet/>
      <dgm:spPr/>
      <dgm:t>
        <a:bodyPr/>
        <a:lstStyle/>
        <a:p>
          <a:endParaRPr lang="en-US" sz="2000"/>
        </a:p>
      </dgm:t>
    </dgm:pt>
    <dgm:pt modelId="{B7BE9D0D-ADCC-4E94-8387-1EBE0B384407}">
      <dgm:prSet phldrT="[Text]" custT="1"/>
      <dgm:spPr/>
      <dgm:t>
        <a:bodyPr/>
        <a:lstStyle/>
        <a:p>
          <a:r>
            <a:rPr lang="en-US" sz="1400" b="0" dirty="0"/>
            <a:t>Statement testing</a:t>
          </a:r>
        </a:p>
      </dgm:t>
    </dgm:pt>
    <dgm:pt modelId="{344360E9-E2B6-4E92-B3CD-D32A7FECC340}" type="parTrans" cxnId="{EF73B2DB-BC51-45A9-B594-67B0C87605B7}">
      <dgm:prSet/>
      <dgm:spPr/>
      <dgm:t>
        <a:bodyPr/>
        <a:lstStyle/>
        <a:p>
          <a:endParaRPr lang="en-US" sz="2000"/>
        </a:p>
      </dgm:t>
    </dgm:pt>
    <dgm:pt modelId="{5849A86F-6F65-4F3A-B309-6CD719D80BA4}" type="sibTrans" cxnId="{EF73B2DB-BC51-45A9-B594-67B0C87605B7}">
      <dgm:prSet/>
      <dgm:spPr/>
      <dgm:t>
        <a:bodyPr/>
        <a:lstStyle/>
        <a:p>
          <a:endParaRPr lang="en-US" sz="2000"/>
        </a:p>
      </dgm:t>
    </dgm:pt>
    <dgm:pt modelId="{BC447792-F296-46FE-83EE-BFCE89FF2BB1}">
      <dgm:prSet custT="1"/>
      <dgm:spPr/>
      <dgm:t>
        <a:bodyPr/>
        <a:lstStyle/>
        <a:p>
          <a:r>
            <a:rPr lang="en-US" sz="1400" b="0" dirty="0"/>
            <a:t>Decision testing</a:t>
          </a:r>
        </a:p>
      </dgm:t>
    </dgm:pt>
    <dgm:pt modelId="{EB065BC9-E590-4149-9335-BF62B28CE596}" type="parTrans" cxnId="{A285429D-66FA-445C-B414-6B82195BFA7F}">
      <dgm:prSet/>
      <dgm:spPr/>
      <dgm:t>
        <a:bodyPr/>
        <a:lstStyle/>
        <a:p>
          <a:endParaRPr lang="en-US" sz="2000"/>
        </a:p>
      </dgm:t>
    </dgm:pt>
    <dgm:pt modelId="{9A401F4A-45F4-4A26-A707-CF777A614F08}" type="sibTrans" cxnId="{A285429D-66FA-445C-B414-6B82195BFA7F}">
      <dgm:prSet/>
      <dgm:spPr/>
      <dgm:t>
        <a:bodyPr/>
        <a:lstStyle/>
        <a:p>
          <a:endParaRPr lang="en-US" sz="2000"/>
        </a:p>
      </dgm:t>
    </dgm:pt>
    <dgm:pt modelId="{3EEDF7EB-A401-438A-B6AB-362C8CDAE354}">
      <dgm:prSet custT="1"/>
      <dgm:spPr/>
      <dgm:t>
        <a:bodyPr/>
        <a:lstStyle/>
        <a:p>
          <a:r>
            <a:rPr lang="en-US" sz="1400" b="0" dirty="0"/>
            <a:t>Condition / Multiple condition / Condition determination testing</a:t>
          </a:r>
        </a:p>
      </dgm:t>
    </dgm:pt>
    <dgm:pt modelId="{76303B3C-CA2E-4A96-B39C-8594C1E40120}" type="parTrans" cxnId="{9E335232-AEF2-4B78-8847-EF58FCEBE58F}">
      <dgm:prSet/>
      <dgm:spPr/>
      <dgm:t>
        <a:bodyPr/>
        <a:lstStyle/>
        <a:p>
          <a:endParaRPr lang="en-US" sz="2000"/>
        </a:p>
      </dgm:t>
    </dgm:pt>
    <dgm:pt modelId="{08DABF0C-9AAF-4FDE-98D9-10D611C3C436}" type="sibTrans" cxnId="{9E335232-AEF2-4B78-8847-EF58FCEBE58F}">
      <dgm:prSet/>
      <dgm:spPr/>
      <dgm:t>
        <a:bodyPr/>
        <a:lstStyle/>
        <a:p>
          <a:endParaRPr lang="en-US" sz="2000"/>
        </a:p>
      </dgm:t>
    </dgm:pt>
    <dgm:pt modelId="{5B2EA105-45A2-4809-BE74-C5832BBEAA1F}">
      <dgm:prSet custT="1"/>
      <dgm:spPr/>
      <dgm:t>
        <a:bodyPr/>
        <a:lstStyle/>
        <a:p>
          <a:r>
            <a:rPr lang="en-US" sz="1400" b="0" dirty="0"/>
            <a:t>Path testing</a:t>
          </a:r>
        </a:p>
      </dgm:t>
    </dgm:pt>
    <dgm:pt modelId="{0FC61E64-B6D7-475B-ABAF-D1B314283535}" type="parTrans" cxnId="{5F02E541-83CA-4F8D-B13A-6BB92A478514}">
      <dgm:prSet/>
      <dgm:spPr/>
      <dgm:t>
        <a:bodyPr/>
        <a:lstStyle/>
        <a:p>
          <a:endParaRPr lang="en-US" sz="2000"/>
        </a:p>
      </dgm:t>
    </dgm:pt>
    <dgm:pt modelId="{3078174F-3452-4688-A0C1-F102BA9174E8}" type="sibTrans" cxnId="{5F02E541-83CA-4F8D-B13A-6BB92A478514}">
      <dgm:prSet/>
      <dgm:spPr/>
      <dgm:t>
        <a:bodyPr/>
        <a:lstStyle/>
        <a:p>
          <a:endParaRPr lang="en-US" sz="2000"/>
        </a:p>
      </dgm:t>
    </dgm:pt>
    <dgm:pt modelId="{C4B9ED37-1803-4172-AEB1-E4F56091C23E}">
      <dgm:prSet custT="1"/>
      <dgm:spPr/>
      <dgm:t>
        <a:bodyPr/>
        <a:lstStyle/>
        <a:p>
          <a:r>
            <a:rPr lang="en-US" sz="1400" b="0" dirty="0"/>
            <a:t>LCSAJ</a:t>
          </a:r>
        </a:p>
      </dgm:t>
    </dgm:pt>
    <dgm:pt modelId="{8B897566-F7EC-4FEB-8AFB-9311F39F3508}" type="parTrans" cxnId="{1B56FEB3-831E-4823-96D0-52DB725B5A04}">
      <dgm:prSet/>
      <dgm:spPr/>
      <dgm:t>
        <a:bodyPr/>
        <a:lstStyle/>
        <a:p>
          <a:endParaRPr lang="en-US" sz="2000"/>
        </a:p>
      </dgm:t>
    </dgm:pt>
    <dgm:pt modelId="{1B9D9B72-5A45-41D2-AC6F-3639B03F356A}" type="sibTrans" cxnId="{1B56FEB3-831E-4823-96D0-52DB725B5A04}">
      <dgm:prSet/>
      <dgm:spPr/>
      <dgm:t>
        <a:bodyPr/>
        <a:lstStyle/>
        <a:p>
          <a:endParaRPr lang="en-US" sz="2000"/>
        </a:p>
      </dgm:t>
    </dgm:pt>
    <dgm:pt modelId="{70CBA2BC-4DFE-4766-B67D-A68AF088EF63}">
      <dgm:prSet phldrT="[Text]" custT="1"/>
      <dgm:spPr/>
      <dgm:t>
        <a:bodyPr/>
        <a:lstStyle/>
        <a:p>
          <a:r>
            <a:rPr lang="en-US" sz="1400" b="0" dirty="0"/>
            <a:t>Error guessing</a:t>
          </a:r>
        </a:p>
      </dgm:t>
    </dgm:pt>
    <dgm:pt modelId="{01246AFB-29E4-4C16-81A4-76C10D84AF14}" type="parTrans" cxnId="{F29B007A-54B1-46B0-BEB2-2BD3FCD0B989}">
      <dgm:prSet/>
      <dgm:spPr/>
      <dgm:t>
        <a:bodyPr/>
        <a:lstStyle/>
        <a:p>
          <a:endParaRPr lang="en-US" sz="2000"/>
        </a:p>
      </dgm:t>
    </dgm:pt>
    <dgm:pt modelId="{F8D7E6D2-2B21-447C-A931-2D7E49AE3EE3}" type="sibTrans" cxnId="{F29B007A-54B1-46B0-BEB2-2BD3FCD0B989}">
      <dgm:prSet/>
      <dgm:spPr/>
      <dgm:t>
        <a:bodyPr/>
        <a:lstStyle/>
        <a:p>
          <a:endParaRPr lang="en-US" sz="2000"/>
        </a:p>
      </dgm:t>
    </dgm:pt>
    <dgm:pt modelId="{B64E9296-56A4-46A1-9981-55649AEEC301}">
      <dgm:prSet custT="1"/>
      <dgm:spPr/>
      <dgm:t>
        <a:bodyPr/>
        <a:lstStyle/>
        <a:p>
          <a:r>
            <a:rPr lang="en-US" sz="1400" b="0" dirty="0"/>
            <a:t>Checklist-based testing</a:t>
          </a:r>
        </a:p>
      </dgm:t>
    </dgm:pt>
    <dgm:pt modelId="{E3649168-86E4-49F9-ABD5-4908850E7A14}" type="parTrans" cxnId="{007EF598-0A8E-4533-BF4B-222ADB0893CE}">
      <dgm:prSet/>
      <dgm:spPr/>
      <dgm:t>
        <a:bodyPr/>
        <a:lstStyle/>
        <a:p>
          <a:endParaRPr lang="en-US" sz="2000"/>
        </a:p>
      </dgm:t>
    </dgm:pt>
    <dgm:pt modelId="{CAF98826-13D2-4EE2-943B-6D8134BE92A8}" type="sibTrans" cxnId="{007EF598-0A8E-4533-BF4B-222ADB0893CE}">
      <dgm:prSet/>
      <dgm:spPr/>
      <dgm:t>
        <a:bodyPr/>
        <a:lstStyle/>
        <a:p>
          <a:endParaRPr lang="en-US" sz="2000"/>
        </a:p>
      </dgm:t>
    </dgm:pt>
    <dgm:pt modelId="{BB6EB62A-B315-4801-A8B0-4B0181443368}">
      <dgm:prSet custT="1"/>
      <dgm:spPr/>
      <dgm:t>
        <a:bodyPr/>
        <a:lstStyle/>
        <a:p>
          <a:r>
            <a:rPr lang="en-US" sz="1400" b="1" dirty="0"/>
            <a:t>Exploratory testing</a:t>
          </a:r>
        </a:p>
      </dgm:t>
    </dgm:pt>
    <dgm:pt modelId="{310A9EAD-87A3-42EA-8322-81C8BE0588A4}" type="parTrans" cxnId="{95A4401E-788D-48A6-BA07-1481F509E3E9}">
      <dgm:prSet/>
      <dgm:spPr/>
      <dgm:t>
        <a:bodyPr/>
        <a:lstStyle/>
        <a:p>
          <a:endParaRPr lang="en-US" sz="2000"/>
        </a:p>
      </dgm:t>
    </dgm:pt>
    <dgm:pt modelId="{A5533466-A858-4C0F-B934-C48A929990A1}" type="sibTrans" cxnId="{95A4401E-788D-48A6-BA07-1481F509E3E9}">
      <dgm:prSet/>
      <dgm:spPr/>
      <dgm:t>
        <a:bodyPr/>
        <a:lstStyle/>
        <a:p>
          <a:endParaRPr lang="en-US" sz="2000"/>
        </a:p>
      </dgm:t>
    </dgm:pt>
    <dgm:pt modelId="{CDBE0FAC-AA49-4685-B606-AEB72FCD8565}">
      <dgm:prSet custT="1"/>
      <dgm:spPr/>
      <dgm:t>
        <a:bodyPr/>
        <a:lstStyle/>
        <a:p>
          <a:r>
            <a:rPr lang="en-US" sz="1400" b="0" dirty="0"/>
            <a:t>Attacks</a:t>
          </a:r>
        </a:p>
      </dgm:t>
    </dgm:pt>
    <dgm:pt modelId="{69902382-8F97-45CC-B55F-E68592DD6973}" type="parTrans" cxnId="{9CD67EED-5F55-427C-93BC-A7508A3F4526}">
      <dgm:prSet/>
      <dgm:spPr/>
      <dgm:t>
        <a:bodyPr/>
        <a:lstStyle/>
        <a:p>
          <a:endParaRPr lang="en-US" sz="2000"/>
        </a:p>
      </dgm:t>
    </dgm:pt>
    <dgm:pt modelId="{5C0C408C-3CD5-4DD7-A103-5572447AEEE4}" type="sibTrans" cxnId="{9CD67EED-5F55-427C-93BC-A7508A3F4526}">
      <dgm:prSet/>
      <dgm:spPr/>
      <dgm:t>
        <a:bodyPr/>
        <a:lstStyle/>
        <a:p>
          <a:endParaRPr lang="en-US" sz="2000"/>
        </a:p>
      </dgm:t>
    </dgm:pt>
    <dgm:pt modelId="{8FB37E7A-7CEB-4E46-AD1A-5DF390495445}" type="pres">
      <dgm:prSet presAssocID="{46EF3B38-8C3E-4EBA-90E3-64C5B6998E58}" presName="Name0" presStyleCnt="0">
        <dgm:presLayoutVars>
          <dgm:dir/>
          <dgm:animLvl val="lvl"/>
          <dgm:resizeHandles val="exact"/>
        </dgm:presLayoutVars>
      </dgm:prSet>
      <dgm:spPr/>
    </dgm:pt>
    <dgm:pt modelId="{D3EE319F-5B7F-4D9E-B113-8149129B00FD}" type="pres">
      <dgm:prSet presAssocID="{A9567E77-85A9-4156-898B-C39DECCF53E0}" presName="composite" presStyleCnt="0"/>
      <dgm:spPr/>
    </dgm:pt>
    <dgm:pt modelId="{1695FDF8-5556-429F-9032-ED8D60190EA3}" type="pres">
      <dgm:prSet presAssocID="{A9567E77-85A9-4156-898B-C39DECCF53E0}" presName="parTx" presStyleLbl="alignNode1" presStyleIdx="0" presStyleCnt="4">
        <dgm:presLayoutVars>
          <dgm:chMax val="0"/>
          <dgm:chPref val="0"/>
          <dgm:bulletEnabled val="1"/>
        </dgm:presLayoutVars>
      </dgm:prSet>
      <dgm:spPr/>
    </dgm:pt>
    <dgm:pt modelId="{C0E7D1EC-D9A9-4544-BF6E-5662E3E837B2}" type="pres">
      <dgm:prSet presAssocID="{A9567E77-85A9-4156-898B-C39DECCF53E0}" presName="desTx" presStyleLbl="alignAccFollowNode1" presStyleIdx="0" presStyleCnt="4">
        <dgm:presLayoutVars>
          <dgm:bulletEnabled val="1"/>
        </dgm:presLayoutVars>
      </dgm:prSet>
      <dgm:spPr/>
    </dgm:pt>
    <dgm:pt modelId="{5267E225-4F74-49D4-98C1-ED4FE5EF5ABD}" type="pres">
      <dgm:prSet presAssocID="{B8BC12DB-C6BB-4505-9796-0037EC320FFC}" presName="space" presStyleCnt="0"/>
      <dgm:spPr/>
    </dgm:pt>
    <dgm:pt modelId="{1E9D4DFC-28CA-4F1D-BBA6-74B16FA679A0}" type="pres">
      <dgm:prSet presAssocID="{9D4EBB09-5CE5-4AA3-9180-D89A0C0BDE45}" presName="composite" presStyleCnt="0"/>
      <dgm:spPr/>
    </dgm:pt>
    <dgm:pt modelId="{FC21E54C-BC60-4B00-B936-05ADFF2C3BFF}" type="pres">
      <dgm:prSet presAssocID="{9D4EBB09-5CE5-4AA3-9180-D89A0C0BDE45}" presName="parTx" presStyleLbl="alignNode1" presStyleIdx="1" presStyleCnt="4">
        <dgm:presLayoutVars>
          <dgm:chMax val="0"/>
          <dgm:chPref val="0"/>
          <dgm:bulletEnabled val="1"/>
        </dgm:presLayoutVars>
      </dgm:prSet>
      <dgm:spPr/>
    </dgm:pt>
    <dgm:pt modelId="{52F95F55-D6BC-47B0-B1C2-BE28C6E745EF}" type="pres">
      <dgm:prSet presAssocID="{9D4EBB09-5CE5-4AA3-9180-D89A0C0BDE45}" presName="desTx" presStyleLbl="alignAccFollowNode1" presStyleIdx="1" presStyleCnt="4">
        <dgm:presLayoutVars>
          <dgm:bulletEnabled val="1"/>
        </dgm:presLayoutVars>
      </dgm:prSet>
      <dgm:spPr/>
    </dgm:pt>
    <dgm:pt modelId="{56DAE039-1926-4ECE-9704-6BC047A42968}" type="pres">
      <dgm:prSet presAssocID="{01CE441B-9995-45B2-BAE6-672099B82568}" presName="space" presStyleCnt="0"/>
      <dgm:spPr/>
    </dgm:pt>
    <dgm:pt modelId="{E77D8E9A-4691-4677-AD8C-325FE1341B68}" type="pres">
      <dgm:prSet presAssocID="{852275E1-2D99-4126-90AB-91D035AF922C}" presName="composite" presStyleCnt="0"/>
      <dgm:spPr/>
    </dgm:pt>
    <dgm:pt modelId="{7C435381-D8D3-47B7-BB3F-5C38051E4310}" type="pres">
      <dgm:prSet presAssocID="{852275E1-2D99-4126-90AB-91D035AF922C}" presName="parTx" presStyleLbl="alignNode1" presStyleIdx="2" presStyleCnt="4">
        <dgm:presLayoutVars>
          <dgm:chMax val="0"/>
          <dgm:chPref val="0"/>
          <dgm:bulletEnabled val="1"/>
        </dgm:presLayoutVars>
      </dgm:prSet>
      <dgm:spPr/>
    </dgm:pt>
    <dgm:pt modelId="{8806D37B-D241-43A3-926F-E0A838191AC9}" type="pres">
      <dgm:prSet presAssocID="{852275E1-2D99-4126-90AB-91D035AF922C}" presName="desTx" presStyleLbl="alignAccFollowNode1" presStyleIdx="2" presStyleCnt="4">
        <dgm:presLayoutVars>
          <dgm:bulletEnabled val="1"/>
        </dgm:presLayoutVars>
      </dgm:prSet>
      <dgm:spPr/>
    </dgm:pt>
    <dgm:pt modelId="{C6414017-E5C2-4C62-89A4-7A65BBEB583A}" type="pres">
      <dgm:prSet presAssocID="{6AE4778C-CD26-457A-A41B-ABE020A56AED}" presName="space" presStyleCnt="0"/>
      <dgm:spPr/>
    </dgm:pt>
    <dgm:pt modelId="{7D08BE9D-9A95-4C68-A591-FD2978322CAC}" type="pres">
      <dgm:prSet presAssocID="{FF0EF37E-E6B6-45CC-90C4-FCC487F34045}" presName="composite" presStyleCnt="0"/>
      <dgm:spPr/>
    </dgm:pt>
    <dgm:pt modelId="{FF2FF8C9-1F6C-4449-B3B2-439CE5481514}" type="pres">
      <dgm:prSet presAssocID="{FF0EF37E-E6B6-45CC-90C4-FCC487F34045}" presName="parTx" presStyleLbl="alignNode1" presStyleIdx="3" presStyleCnt="4">
        <dgm:presLayoutVars>
          <dgm:chMax val="0"/>
          <dgm:chPref val="0"/>
          <dgm:bulletEnabled val="1"/>
        </dgm:presLayoutVars>
      </dgm:prSet>
      <dgm:spPr/>
    </dgm:pt>
    <dgm:pt modelId="{CFC034BA-ECD9-473F-A739-224FAFEC0F3F}" type="pres">
      <dgm:prSet presAssocID="{FF0EF37E-E6B6-45CC-90C4-FCC487F34045}" presName="desTx" presStyleLbl="alignAccFollowNode1" presStyleIdx="3" presStyleCnt="4">
        <dgm:presLayoutVars>
          <dgm:bulletEnabled val="1"/>
        </dgm:presLayoutVars>
      </dgm:prSet>
      <dgm:spPr/>
    </dgm:pt>
  </dgm:ptLst>
  <dgm:cxnLst>
    <dgm:cxn modelId="{3D97F20E-0626-4062-AF39-24A745DD36BA}" srcId="{46EF3B38-8C3E-4EBA-90E3-64C5B6998E58}" destId="{FF0EF37E-E6B6-45CC-90C4-FCC487F34045}" srcOrd="3" destOrd="0" parTransId="{2054F523-1170-4059-B725-E7E8E25DD549}" sibTransId="{61B9B782-556F-4297-8296-56978F25559E}"/>
    <dgm:cxn modelId="{7A9B1D10-DC89-4878-B584-1BDCA88D0C80}" srcId="{9D4EBB09-5CE5-4AA3-9180-D89A0C0BDE45}" destId="{6242F004-5CF0-4363-843D-F31038303B21}" srcOrd="0" destOrd="0" parTransId="{48C219F9-64CB-4ECD-ADE6-AF38640320D1}" sibTransId="{F8193165-E930-4E04-8787-E6F56F6DD1F6}"/>
    <dgm:cxn modelId="{95A4401E-788D-48A6-BA07-1481F509E3E9}" srcId="{FF0EF37E-E6B6-45CC-90C4-FCC487F34045}" destId="{BB6EB62A-B315-4801-A8B0-4B0181443368}" srcOrd="2" destOrd="0" parTransId="{310A9EAD-87A3-42EA-8322-81C8BE0588A4}" sibTransId="{A5533466-A858-4C0F-B934-C48A929990A1}"/>
    <dgm:cxn modelId="{81A2D11E-0512-4CDA-B58B-B7A5B3404BF2}" type="presOf" srcId="{C7DCE2FA-B33F-4360-BFF8-FF90C7EE7792}" destId="{52F95F55-D6BC-47B0-B1C2-BE28C6E745EF}" srcOrd="0" destOrd="3" presId="urn:microsoft.com/office/officeart/2005/8/layout/hList1"/>
    <dgm:cxn modelId="{E2D05625-F5AD-4C6D-A4C7-4E66E64404C8}" srcId="{46EF3B38-8C3E-4EBA-90E3-64C5B6998E58}" destId="{852275E1-2D99-4126-90AB-91D035AF922C}" srcOrd="2" destOrd="0" parTransId="{C307A28B-3CE6-4B2E-898B-008C1CC4D66D}" sibTransId="{6AE4778C-CD26-457A-A41B-ABE020A56AED}"/>
    <dgm:cxn modelId="{4C3F262B-6E8A-45C2-95F1-1C1EDCEBC387}" type="presOf" srcId="{9D4EBB09-5CE5-4AA3-9180-D89A0C0BDE45}" destId="{FC21E54C-BC60-4B00-B936-05ADFF2C3BFF}" srcOrd="0" destOrd="0" presId="urn:microsoft.com/office/officeart/2005/8/layout/hList1"/>
    <dgm:cxn modelId="{AF319C2D-A87C-45B9-811A-A12F1DB9842C}" type="presOf" srcId="{A9567E77-85A9-4156-898B-C39DECCF53E0}" destId="{1695FDF8-5556-429F-9032-ED8D60190EA3}" srcOrd="0" destOrd="0" presId="urn:microsoft.com/office/officeart/2005/8/layout/hList1"/>
    <dgm:cxn modelId="{9E335232-AEF2-4B78-8847-EF58FCEBE58F}" srcId="{852275E1-2D99-4126-90AB-91D035AF922C}" destId="{3EEDF7EB-A401-438A-B6AB-362C8CDAE354}" srcOrd="2" destOrd="0" parTransId="{76303B3C-CA2E-4A96-B39C-8594C1E40120}" sibTransId="{08DABF0C-9AAF-4FDE-98D9-10D611C3C436}"/>
    <dgm:cxn modelId="{174EA736-8788-463C-B14E-60305C4AA0A1}" type="presOf" srcId="{B88CE8F3-E6B4-4892-AA64-2B7258AEFDF3}" destId="{52F95F55-D6BC-47B0-B1C2-BE28C6E745EF}" srcOrd="0" destOrd="1" presId="urn:microsoft.com/office/officeart/2005/8/layout/hList1"/>
    <dgm:cxn modelId="{E2D5F33E-7EAF-4B8D-9E01-FF44D8A71ADB}" srcId="{9D4EBB09-5CE5-4AA3-9180-D89A0C0BDE45}" destId="{B88CE8F3-E6B4-4892-AA64-2B7258AEFDF3}" srcOrd="1" destOrd="0" parTransId="{4FED41F9-CB9D-4145-B8D6-BBB57961794F}" sibTransId="{93AE9D43-A999-4C44-AD23-0AA08CE9BE71}"/>
    <dgm:cxn modelId="{15CBA85C-2810-4101-A0EA-C53A9B431D7E}" type="presOf" srcId="{C4B9ED37-1803-4172-AEB1-E4F56091C23E}" destId="{8806D37B-D241-43A3-926F-E0A838191AC9}" srcOrd="0" destOrd="4" presId="urn:microsoft.com/office/officeart/2005/8/layout/hList1"/>
    <dgm:cxn modelId="{C64B7C5F-DD41-4B80-BC97-9157826C0E0E}" type="presOf" srcId="{BC447792-F296-46FE-83EE-BFCE89FF2BB1}" destId="{8806D37B-D241-43A3-926F-E0A838191AC9}" srcOrd="0" destOrd="1" presId="urn:microsoft.com/office/officeart/2005/8/layout/hList1"/>
    <dgm:cxn modelId="{5F02E541-83CA-4F8D-B13A-6BB92A478514}" srcId="{852275E1-2D99-4126-90AB-91D035AF922C}" destId="{5B2EA105-45A2-4809-BE74-C5832BBEAA1F}" srcOrd="3" destOrd="0" parTransId="{0FC61E64-B6D7-475B-ABAF-D1B314283535}" sibTransId="{3078174F-3452-4688-A0C1-F102BA9174E8}"/>
    <dgm:cxn modelId="{F9A18262-FAFE-44DC-BC35-BE79FF2E6756}" srcId="{46EF3B38-8C3E-4EBA-90E3-64C5B6998E58}" destId="{9D4EBB09-5CE5-4AA3-9180-D89A0C0BDE45}" srcOrd="1" destOrd="0" parTransId="{6D1E30A5-5279-4129-8FBF-911705F9FB13}" sibTransId="{01CE441B-9995-45B2-BAE6-672099B82568}"/>
    <dgm:cxn modelId="{4602F565-E442-45BF-A083-B5ABBFFB7EF7}" type="presOf" srcId="{7BF5ECB1-7074-4F45-8ADE-27BF66E6D1A4}" destId="{52F95F55-D6BC-47B0-B1C2-BE28C6E745EF}" srcOrd="0" destOrd="2" presId="urn:microsoft.com/office/officeart/2005/8/layout/hList1"/>
    <dgm:cxn modelId="{4E9EB466-3A9D-4E6B-A935-52050E7F83AB}" srcId="{A9567E77-85A9-4156-898B-C39DECCF53E0}" destId="{566A312E-0192-427D-BE3D-F3F31C701366}" srcOrd="0" destOrd="0" parTransId="{D6DB6801-634C-4D28-982E-D7DBD1210635}" sibTransId="{D52D0E0A-836C-4C9C-B6F9-5041B35D947C}"/>
    <dgm:cxn modelId="{04203768-88CC-4FCE-B2E1-21E56A838364}" type="presOf" srcId="{46EF3B38-8C3E-4EBA-90E3-64C5B6998E58}" destId="{8FB37E7A-7CEB-4E46-AD1A-5DF390495445}" srcOrd="0" destOrd="0" presId="urn:microsoft.com/office/officeart/2005/8/layout/hList1"/>
    <dgm:cxn modelId="{7E4C5050-25A5-40A2-96E9-ACC96887CDC1}" type="presOf" srcId="{BB6EB62A-B315-4801-A8B0-4B0181443368}" destId="{CFC034BA-ECD9-473F-A739-224FAFEC0F3F}" srcOrd="0" destOrd="2" presId="urn:microsoft.com/office/officeart/2005/8/layout/hList1"/>
    <dgm:cxn modelId="{28312974-3BC1-47B4-B54E-99CC6B3BE5A3}" srcId="{46EF3B38-8C3E-4EBA-90E3-64C5B6998E58}" destId="{A9567E77-85A9-4156-898B-C39DECCF53E0}" srcOrd="0" destOrd="0" parTransId="{AB08C5E1-2619-41E1-AC3F-6D83C17ECE8E}" sibTransId="{B8BC12DB-C6BB-4505-9796-0037EC320FFC}"/>
    <dgm:cxn modelId="{76D2D279-1B83-4404-BA7F-E040A180487C}" srcId="{9D4EBB09-5CE5-4AA3-9180-D89A0C0BDE45}" destId="{BE5D2E06-7A59-4F6F-A8D8-AB513601BBBF}" srcOrd="4" destOrd="0" parTransId="{E7B5D3CA-B7FB-4D76-B1BA-21C2C426777C}" sibTransId="{417E1431-B4AE-4FFD-9637-50CA0F448FCA}"/>
    <dgm:cxn modelId="{F29B007A-54B1-46B0-BEB2-2BD3FCD0B989}" srcId="{FF0EF37E-E6B6-45CC-90C4-FCC487F34045}" destId="{70CBA2BC-4DFE-4766-B67D-A68AF088EF63}" srcOrd="0" destOrd="0" parTransId="{01246AFB-29E4-4C16-81A4-76C10D84AF14}" sibTransId="{F8D7E6D2-2B21-447C-A931-2D7E49AE3EE3}"/>
    <dgm:cxn modelId="{007EF598-0A8E-4533-BF4B-222ADB0893CE}" srcId="{FF0EF37E-E6B6-45CC-90C4-FCC487F34045}" destId="{B64E9296-56A4-46A1-9981-55649AEEC301}" srcOrd="1" destOrd="0" parTransId="{E3649168-86E4-49F9-ABD5-4908850E7A14}" sibTransId="{CAF98826-13D2-4EE2-943B-6D8134BE92A8}"/>
    <dgm:cxn modelId="{A285429D-66FA-445C-B414-6B82195BFA7F}" srcId="{852275E1-2D99-4126-90AB-91D035AF922C}" destId="{BC447792-F296-46FE-83EE-BFCE89FF2BB1}" srcOrd="1" destOrd="0" parTransId="{EB065BC9-E590-4149-9335-BF62B28CE596}" sibTransId="{9A401F4A-45F4-4A26-A707-CF777A614F08}"/>
    <dgm:cxn modelId="{6844F7B3-319B-48BA-9915-1A60E155EEAC}" srcId="{9D4EBB09-5CE5-4AA3-9180-D89A0C0BDE45}" destId="{7BF5ECB1-7074-4F45-8ADE-27BF66E6D1A4}" srcOrd="2" destOrd="0" parTransId="{F3D1301F-C5ED-416F-8126-8349C6853227}" sibTransId="{F3F77C9E-C24C-4851-A168-ACD7B37E15CA}"/>
    <dgm:cxn modelId="{1B56FEB3-831E-4823-96D0-52DB725B5A04}" srcId="{852275E1-2D99-4126-90AB-91D035AF922C}" destId="{C4B9ED37-1803-4172-AEB1-E4F56091C23E}" srcOrd="4" destOrd="0" parTransId="{8B897566-F7EC-4FEB-8AFB-9311F39F3508}" sibTransId="{1B9D9B72-5A45-41D2-AC6F-3639B03F356A}"/>
    <dgm:cxn modelId="{F8A3E2C0-5760-4ABB-8018-9959DB827ED9}" type="presOf" srcId="{96492438-2A20-4851-8D8F-0143A7A6FDD4}" destId="{52F95F55-D6BC-47B0-B1C2-BE28C6E745EF}" srcOrd="0" destOrd="5" presId="urn:microsoft.com/office/officeart/2005/8/layout/hList1"/>
    <dgm:cxn modelId="{3FE703CA-28C6-4809-B088-0A841176D19A}" type="presOf" srcId="{6242F004-5CF0-4363-843D-F31038303B21}" destId="{52F95F55-D6BC-47B0-B1C2-BE28C6E745EF}" srcOrd="0" destOrd="0" presId="urn:microsoft.com/office/officeart/2005/8/layout/hList1"/>
    <dgm:cxn modelId="{B07986CF-1054-4FBD-9F7F-8C1594B00FB7}" type="presOf" srcId="{CDBE0FAC-AA49-4685-B606-AEB72FCD8565}" destId="{CFC034BA-ECD9-473F-A739-224FAFEC0F3F}" srcOrd="0" destOrd="3" presId="urn:microsoft.com/office/officeart/2005/8/layout/hList1"/>
    <dgm:cxn modelId="{5F48B7D1-4D19-481E-B77D-A5F928626F55}" srcId="{9D4EBB09-5CE5-4AA3-9180-D89A0C0BDE45}" destId="{C7DCE2FA-B33F-4360-BFF8-FF90C7EE7792}" srcOrd="3" destOrd="0" parTransId="{8F9C1512-FDCD-46DE-BD10-851D73682C61}" sibTransId="{664316AA-48CF-471D-987D-EEBA36A50387}"/>
    <dgm:cxn modelId="{D8BBBFD5-D69F-4A35-9B63-E8249F95CB7F}" type="presOf" srcId="{852275E1-2D99-4126-90AB-91D035AF922C}" destId="{7C435381-D8D3-47B7-BB3F-5C38051E4310}" srcOrd="0" destOrd="0" presId="urn:microsoft.com/office/officeart/2005/8/layout/hList1"/>
    <dgm:cxn modelId="{685561D7-A5BD-4DA2-B420-F5DD97018647}" type="presOf" srcId="{B64E9296-56A4-46A1-9981-55649AEEC301}" destId="{CFC034BA-ECD9-473F-A739-224FAFEC0F3F}" srcOrd="0" destOrd="1" presId="urn:microsoft.com/office/officeart/2005/8/layout/hList1"/>
    <dgm:cxn modelId="{E1BCC7D7-E00D-4C9F-BB20-9A41200999DC}" type="presOf" srcId="{3EEDF7EB-A401-438A-B6AB-362C8CDAE354}" destId="{8806D37B-D241-43A3-926F-E0A838191AC9}" srcOrd="0" destOrd="2" presId="urn:microsoft.com/office/officeart/2005/8/layout/hList1"/>
    <dgm:cxn modelId="{EF73B2DB-BC51-45A9-B594-67B0C87605B7}" srcId="{852275E1-2D99-4126-90AB-91D035AF922C}" destId="{B7BE9D0D-ADCC-4E94-8387-1EBE0B384407}" srcOrd="0" destOrd="0" parTransId="{344360E9-E2B6-4E92-B3CD-D32A7FECC340}" sibTransId="{5849A86F-6F65-4F3A-B309-6CD719D80BA4}"/>
    <dgm:cxn modelId="{1FB8F0DD-F8D1-4E74-B98D-F41990BC472D}" type="presOf" srcId="{5B2EA105-45A2-4809-BE74-C5832BBEAA1F}" destId="{8806D37B-D241-43A3-926F-E0A838191AC9}" srcOrd="0" destOrd="3" presId="urn:microsoft.com/office/officeart/2005/8/layout/hList1"/>
    <dgm:cxn modelId="{8CD8A4EC-16EC-423C-9E13-BC987AFAE27A}" srcId="{9D4EBB09-5CE5-4AA3-9180-D89A0C0BDE45}" destId="{96492438-2A20-4851-8D8F-0143A7A6FDD4}" srcOrd="5" destOrd="0" parTransId="{5F775B0F-A7F2-44E5-9C9F-3815C6F91F85}" sibTransId="{62A83E89-020E-408C-8C16-29DE40B0019F}"/>
    <dgm:cxn modelId="{A7E730ED-EBAC-420E-B21D-550E1F81B0C9}" type="presOf" srcId="{BE5D2E06-7A59-4F6F-A8D8-AB513601BBBF}" destId="{52F95F55-D6BC-47B0-B1C2-BE28C6E745EF}" srcOrd="0" destOrd="4" presId="urn:microsoft.com/office/officeart/2005/8/layout/hList1"/>
    <dgm:cxn modelId="{9CD67EED-5F55-427C-93BC-A7508A3F4526}" srcId="{FF0EF37E-E6B6-45CC-90C4-FCC487F34045}" destId="{CDBE0FAC-AA49-4685-B606-AEB72FCD8565}" srcOrd="3" destOrd="0" parTransId="{69902382-8F97-45CC-B55F-E68592DD6973}" sibTransId="{5C0C408C-3CD5-4DD7-A103-5572447AEEE4}"/>
    <dgm:cxn modelId="{7D4B3EEE-6B64-4C7C-B32C-9505B6E5B063}" type="presOf" srcId="{70CBA2BC-4DFE-4766-B67D-A68AF088EF63}" destId="{CFC034BA-ECD9-473F-A739-224FAFEC0F3F}" srcOrd="0" destOrd="0" presId="urn:microsoft.com/office/officeart/2005/8/layout/hList1"/>
    <dgm:cxn modelId="{5EBF18F1-08F3-4AE1-93BD-2F7244DA9BEA}" type="presOf" srcId="{566A312E-0192-427D-BE3D-F3F31C701366}" destId="{C0E7D1EC-D9A9-4544-BF6E-5662E3E837B2}" srcOrd="0" destOrd="0" presId="urn:microsoft.com/office/officeart/2005/8/layout/hList1"/>
    <dgm:cxn modelId="{BB6835F2-CD66-451C-9A38-05DAF79FF01F}" type="presOf" srcId="{FF0EF37E-E6B6-45CC-90C4-FCC487F34045}" destId="{FF2FF8C9-1F6C-4449-B3B2-439CE5481514}" srcOrd="0" destOrd="0" presId="urn:microsoft.com/office/officeart/2005/8/layout/hList1"/>
    <dgm:cxn modelId="{1AB0D1F6-CD3F-4978-9871-727DD6F8559C}" type="presOf" srcId="{B7BE9D0D-ADCC-4E94-8387-1EBE0B384407}" destId="{8806D37B-D241-43A3-926F-E0A838191AC9}" srcOrd="0" destOrd="0" presId="urn:microsoft.com/office/officeart/2005/8/layout/hList1"/>
    <dgm:cxn modelId="{901446C5-C4AE-470D-B735-0317FE02309D}" type="presParOf" srcId="{8FB37E7A-7CEB-4E46-AD1A-5DF390495445}" destId="{D3EE319F-5B7F-4D9E-B113-8149129B00FD}" srcOrd="0" destOrd="0" presId="urn:microsoft.com/office/officeart/2005/8/layout/hList1"/>
    <dgm:cxn modelId="{BAD63B8E-3265-40FD-83E1-0109B97C3DBF}" type="presParOf" srcId="{D3EE319F-5B7F-4D9E-B113-8149129B00FD}" destId="{1695FDF8-5556-429F-9032-ED8D60190EA3}" srcOrd="0" destOrd="0" presId="urn:microsoft.com/office/officeart/2005/8/layout/hList1"/>
    <dgm:cxn modelId="{912EFF9F-0C2A-483B-93CD-6E7AF3E76C33}" type="presParOf" srcId="{D3EE319F-5B7F-4D9E-B113-8149129B00FD}" destId="{C0E7D1EC-D9A9-4544-BF6E-5662E3E837B2}" srcOrd="1" destOrd="0" presId="urn:microsoft.com/office/officeart/2005/8/layout/hList1"/>
    <dgm:cxn modelId="{BA875A8B-1075-403C-A634-ED06AC12A584}" type="presParOf" srcId="{8FB37E7A-7CEB-4E46-AD1A-5DF390495445}" destId="{5267E225-4F74-49D4-98C1-ED4FE5EF5ABD}" srcOrd="1" destOrd="0" presId="urn:microsoft.com/office/officeart/2005/8/layout/hList1"/>
    <dgm:cxn modelId="{36E3F3D4-7AE4-401D-8BC4-029982D9209E}" type="presParOf" srcId="{8FB37E7A-7CEB-4E46-AD1A-5DF390495445}" destId="{1E9D4DFC-28CA-4F1D-BBA6-74B16FA679A0}" srcOrd="2" destOrd="0" presId="urn:microsoft.com/office/officeart/2005/8/layout/hList1"/>
    <dgm:cxn modelId="{418482F0-C641-4446-973A-23E5D416EC4E}" type="presParOf" srcId="{1E9D4DFC-28CA-4F1D-BBA6-74B16FA679A0}" destId="{FC21E54C-BC60-4B00-B936-05ADFF2C3BFF}" srcOrd="0" destOrd="0" presId="urn:microsoft.com/office/officeart/2005/8/layout/hList1"/>
    <dgm:cxn modelId="{45AA0C56-A379-42D9-92C7-D8536BDA95CE}" type="presParOf" srcId="{1E9D4DFC-28CA-4F1D-BBA6-74B16FA679A0}" destId="{52F95F55-D6BC-47B0-B1C2-BE28C6E745EF}" srcOrd="1" destOrd="0" presId="urn:microsoft.com/office/officeart/2005/8/layout/hList1"/>
    <dgm:cxn modelId="{F4D96607-E1CF-49EA-95AE-9D9FAA06F91A}" type="presParOf" srcId="{8FB37E7A-7CEB-4E46-AD1A-5DF390495445}" destId="{56DAE039-1926-4ECE-9704-6BC047A42968}" srcOrd="3" destOrd="0" presId="urn:microsoft.com/office/officeart/2005/8/layout/hList1"/>
    <dgm:cxn modelId="{107EF63A-B660-481A-A91F-631B40777273}" type="presParOf" srcId="{8FB37E7A-7CEB-4E46-AD1A-5DF390495445}" destId="{E77D8E9A-4691-4677-AD8C-325FE1341B68}" srcOrd="4" destOrd="0" presId="urn:microsoft.com/office/officeart/2005/8/layout/hList1"/>
    <dgm:cxn modelId="{20A145DD-447D-4819-93E7-2EBD22774402}" type="presParOf" srcId="{E77D8E9A-4691-4677-AD8C-325FE1341B68}" destId="{7C435381-D8D3-47B7-BB3F-5C38051E4310}" srcOrd="0" destOrd="0" presId="urn:microsoft.com/office/officeart/2005/8/layout/hList1"/>
    <dgm:cxn modelId="{482746B9-E3F4-46AF-B11D-C664654188D5}" type="presParOf" srcId="{E77D8E9A-4691-4677-AD8C-325FE1341B68}" destId="{8806D37B-D241-43A3-926F-E0A838191AC9}" srcOrd="1" destOrd="0" presId="urn:microsoft.com/office/officeart/2005/8/layout/hList1"/>
    <dgm:cxn modelId="{C9440D54-A941-4371-BE84-073BB15F62DA}" type="presParOf" srcId="{8FB37E7A-7CEB-4E46-AD1A-5DF390495445}" destId="{C6414017-E5C2-4C62-89A4-7A65BBEB583A}" srcOrd="5" destOrd="0" presId="urn:microsoft.com/office/officeart/2005/8/layout/hList1"/>
    <dgm:cxn modelId="{C0D0A60C-DB4D-4897-82AF-2807BEAE2251}" type="presParOf" srcId="{8FB37E7A-7CEB-4E46-AD1A-5DF390495445}" destId="{7D08BE9D-9A95-4C68-A591-FD2978322CAC}" srcOrd="6" destOrd="0" presId="urn:microsoft.com/office/officeart/2005/8/layout/hList1"/>
    <dgm:cxn modelId="{FD1DDD06-02B5-4D37-9CAB-4EE4EE846E31}" type="presParOf" srcId="{7D08BE9D-9A95-4C68-A591-FD2978322CAC}" destId="{FF2FF8C9-1F6C-4449-B3B2-439CE5481514}" srcOrd="0" destOrd="0" presId="urn:microsoft.com/office/officeart/2005/8/layout/hList1"/>
    <dgm:cxn modelId="{D3721C97-F692-433E-8C2D-6CD4F9076A9B}" type="presParOf" srcId="{7D08BE9D-9A95-4C68-A591-FD2978322CAC}" destId="{CFC034BA-ECD9-473F-A739-224FAFEC0F3F}"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77D0F70-24FE-44D1-A2F6-3E440FCD0187}"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fi-FI"/>
        </a:p>
      </dgm:t>
    </dgm:pt>
    <dgm:pt modelId="{41FBE801-1EFB-49BA-BD07-D90FEC2D6570}">
      <dgm:prSet phldrT="[Text]" custT="1"/>
      <dgm:spPr/>
      <dgm:t>
        <a:bodyPr/>
        <a:lstStyle/>
        <a:p>
          <a:r>
            <a:rPr lang="fi-FI" sz="1600" dirty="0"/>
            <a:t>Test </a:t>
          </a:r>
          <a:r>
            <a:rPr lang="fi-FI" sz="1600" dirty="0" err="1"/>
            <a:t>system</a:t>
          </a:r>
          <a:r>
            <a:rPr lang="fi-FI" sz="1600" dirty="0"/>
            <a:t> 1</a:t>
          </a:r>
        </a:p>
      </dgm:t>
    </dgm:pt>
    <dgm:pt modelId="{866EDBE4-6100-48D1-B3F1-E478154BCC4E}" type="parTrans" cxnId="{87BB9F2A-A49D-4391-B41E-A8BE41041F9F}">
      <dgm:prSet/>
      <dgm:spPr/>
      <dgm:t>
        <a:bodyPr/>
        <a:lstStyle/>
        <a:p>
          <a:endParaRPr lang="fi-FI" sz="1100"/>
        </a:p>
      </dgm:t>
    </dgm:pt>
    <dgm:pt modelId="{1008EF36-AACA-40DD-91F3-CBD6D362727A}" type="sibTrans" cxnId="{87BB9F2A-A49D-4391-B41E-A8BE41041F9F}">
      <dgm:prSet custT="1"/>
      <dgm:spPr/>
      <dgm:t>
        <a:bodyPr/>
        <a:lstStyle/>
        <a:p>
          <a:endParaRPr lang="fi-FI" sz="1200"/>
        </a:p>
      </dgm:t>
    </dgm:pt>
    <dgm:pt modelId="{C9BE0DA7-3A69-4E97-97FB-85E1C15F2C22}">
      <dgm:prSet phldrT="[Text]" custT="1"/>
      <dgm:spPr>
        <a:solidFill>
          <a:srgbClr val="A8BBC0"/>
        </a:solidFill>
      </dgm:spPr>
      <dgm:t>
        <a:bodyPr/>
        <a:lstStyle/>
        <a:p>
          <a:r>
            <a:rPr lang="fi-FI" sz="1600" dirty="0"/>
            <a:t>Test System 2</a:t>
          </a:r>
        </a:p>
      </dgm:t>
    </dgm:pt>
    <dgm:pt modelId="{01EAF210-1156-4F05-9EA7-7D90C583D858}" type="parTrans" cxnId="{5DEF2F42-1F9D-4087-975B-56E10C288E62}">
      <dgm:prSet/>
      <dgm:spPr/>
      <dgm:t>
        <a:bodyPr/>
        <a:lstStyle/>
        <a:p>
          <a:endParaRPr lang="fi-FI" sz="1100"/>
        </a:p>
      </dgm:t>
    </dgm:pt>
    <dgm:pt modelId="{7CEB0D63-B187-4117-93D4-B356A6825B66}" type="sibTrans" cxnId="{5DEF2F42-1F9D-4087-975B-56E10C288E62}">
      <dgm:prSet custT="1"/>
      <dgm:spPr/>
      <dgm:t>
        <a:bodyPr/>
        <a:lstStyle/>
        <a:p>
          <a:endParaRPr lang="fi-FI" sz="1200"/>
        </a:p>
      </dgm:t>
    </dgm:pt>
    <dgm:pt modelId="{E633D7AF-8D47-455A-90A6-FC65DA444C33}">
      <dgm:prSet phldrT="[Text]" custT="1"/>
      <dgm:spPr>
        <a:solidFill>
          <a:srgbClr val="68717A"/>
        </a:solidFill>
      </dgm:spPr>
      <dgm:t>
        <a:bodyPr/>
        <a:lstStyle/>
        <a:p>
          <a:r>
            <a:rPr lang="fi-FI" sz="1600" dirty="0"/>
            <a:t>Test System 3</a:t>
          </a:r>
        </a:p>
      </dgm:t>
    </dgm:pt>
    <dgm:pt modelId="{5D7A808F-C12C-4037-9D39-741905E2BE95}" type="parTrans" cxnId="{E1BFF6D8-14C3-4ECE-A5C9-A4B7CFC00C04}">
      <dgm:prSet/>
      <dgm:spPr/>
      <dgm:t>
        <a:bodyPr/>
        <a:lstStyle/>
        <a:p>
          <a:endParaRPr lang="fi-FI" sz="1100"/>
        </a:p>
      </dgm:t>
    </dgm:pt>
    <dgm:pt modelId="{CFD0FEE7-8ADF-4FC2-BD77-20804538FFEC}" type="sibTrans" cxnId="{E1BFF6D8-14C3-4ECE-A5C9-A4B7CFC00C04}">
      <dgm:prSet custT="1"/>
      <dgm:spPr/>
      <dgm:t>
        <a:bodyPr/>
        <a:lstStyle/>
        <a:p>
          <a:endParaRPr lang="fi-FI" sz="1200"/>
        </a:p>
      </dgm:t>
    </dgm:pt>
    <dgm:pt modelId="{BAED7F55-A226-456B-8545-C0B1434EFAB2}">
      <dgm:prSet phldrT="[Text]" custT="1"/>
      <dgm:spPr>
        <a:solidFill>
          <a:srgbClr val="0070C0"/>
        </a:solidFill>
      </dgm:spPr>
      <dgm:t>
        <a:bodyPr/>
        <a:lstStyle/>
        <a:p>
          <a:r>
            <a:rPr lang="fi-FI" sz="1600" dirty="0"/>
            <a:t>Test System 4</a:t>
          </a:r>
        </a:p>
      </dgm:t>
    </dgm:pt>
    <dgm:pt modelId="{850496D9-AA2D-4BCA-B1EF-FDDA0CE2FA64}" type="parTrans" cxnId="{73198768-C6DF-46A6-83F3-4B189C9542D2}">
      <dgm:prSet/>
      <dgm:spPr/>
      <dgm:t>
        <a:bodyPr/>
        <a:lstStyle/>
        <a:p>
          <a:endParaRPr lang="fi-FI" sz="1100"/>
        </a:p>
      </dgm:t>
    </dgm:pt>
    <dgm:pt modelId="{2D205720-D78D-4446-88D9-C735D4886E67}" type="sibTrans" cxnId="{73198768-C6DF-46A6-83F3-4B189C9542D2}">
      <dgm:prSet custT="1"/>
      <dgm:spPr/>
      <dgm:t>
        <a:bodyPr/>
        <a:lstStyle/>
        <a:p>
          <a:endParaRPr lang="fi-FI" sz="1200" dirty="0"/>
        </a:p>
      </dgm:t>
    </dgm:pt>
    <dgm:pt modelId="{F3EB4CF0-253C-47E0-98E5-98874732B24E}" type="pres">
      <dgm:prSet presAssocID="{677D0F70-24FE-44D1-A2F6-3E440FCD0187}" presName="cycle" presStyleCnt="0">
        <dgm:presLayoutVars>
          <dgm:dir/>
          <dgm:resizeHandles val="exact"/>
        </dgm:presLayoutVars>
      </dgm:prSet>
      <dgm:spPr/>
    </dgm:pt>
    <dgm:pt modelId="{04C070DB-7DD2-4189-B253-F04B5D615D48}" type="pres">
      <dgm:prSet presAssocID="{41FBE801-1EFB-49BA-BD07-D90FEC2D6570}" presName="node" presStyleLbl="node1" presStyleIdx="0" presStyleCnt="4">
        <dgm:presLayoutVars>
          <dgm:bulletEnabled val="1"/>
        </dgm:presLayoutVars>
      </dgm:prSet>
      <dgm:spPr/>
    </dgm:pt>
    <dgm:pt modelId="{50E96061-6722-49D7-BB5C-29CD52A6325A}" type="pres">
      <dgm:prSet presAssocID="{1008EF36-AACA-40DD-91F3-CBD6D362727A}" presName="sibTrans" presStyleLbl="sibTrans2D1" presStyleIdx="0" presStyleCnt="4"/>
      <dgm:spPr/>
    </dgm:pt>
    <dgm:pt modelId="{A3D0793D-E3DA-476E-A516-D21D051C3066}" type="pres">
      <dgm:prSet presAssocID="{1008EF36-AACA-40DD-91F3-CBD6D362727A}" presName="connectorText" presStyleLbl="sibTrans2D1" presStyleIdx="0" presStyleCnt="4"/>
      <dgm:spPr/>
    </dgm:pt>
    <dgm:pt modelId="{B4324613-23D5-4AD7-84C7-75B5450D198C}" type="pres">
      <dgm:prSet presAssocID="{C9BE0DA7-3A69-4E97-97FB-85E1C15F2C22}" presName="node" presStyleLbl="node1" presStyleIdx="1" presStyleCnt="4">
        <dgm:presLayoutVars>
          <dgm:bulletEnabled val="1"/>
        </dgm:presLayoutVars>
      </dgm:prSet>
      <dgm:spPr/>
    </dgm:pt>
    <dgm:pt modelId="{BE06F917-B9C0-4D3D-9A77-ED50C4EA3143}" type="pres">
      <dgm:prSet presAssocID="{7CEB0D63-B187-4117-93D4-B356A6825B66}" presName="sibTrans" presStyleLbl="sibTrans2D1" presStyleIdx="1" presStyleCnt="4"/>
      <dgm:spPr/>
    </dgm:pt>
    <dgm:pt modelId="{62D4CDDE-99B4-4EE7-96C0-940077BA65D2}" type="pres">
      <dgm:prSet presAssocID="{7CEB0D63-B187-4117-93D4-B356A6825B66}" presName="connectorText" presStyleLbl="sibTrans2D1" presStyleIdx="1" presStyleCnt="4"/>
      <dgm:spPr/>
    </dgm:pt>
    <dgm:pt modelId="{E373FB08-83F7-4767-9B9F-6EFF832CC513}" type="pres">
      <dgm:prSet presAssocID="{E633D7AF-8D47-455A-90A6-FC65DA444C33}" presName="node" presStyleLbl="node1" presStyleIdx="2" presStyleCnt="4">
        <dgm:presLayoutVars>
          <dgm:bulletEnabled val="1"/>
        </dgm:presLayoutVars>
      </dgm:prSet>
      <dgm:spPr/>
    </dgm:pt>
    <dgm:pt modelId="{ECA2E26A-A1A8-407A-942F-EC9457C20DE0}" type="pres">
      <dgm:prSet presAssocID="{CFD0FEE7-8ADF-4FC2-BD77-20804538FFEC}" presName="sibTrans" presStyleLbl="sibTrans2D1" presStyleIdx="2" presStyleCnt="4"/>
      <dgm:spPr/>
    </dgm:pt>
    <dgm:pt modelId="{DDC00CEF-0695-4BAA-B28E-4262C78F2040}" type="pres">
      <dgm:prSet presAssocID="{CFD0FEE7-8ADF-4FC2-BD77-20804538FFEC}" presName="connectorText" presStyleLbl="sibTrans2D1" presStyleIdx="2" presStyleCnt="4"/>
      <dgm:spPr/>
    </dgm:pt>
    <dgm:pt modelId="{2A50F81E-D3D9-4EE4-9D94-3A895F3C102B}" type="pres">
      <dgm:prSet presAssocID="{BAED7F55-A226-456B-8545-C0B1434EFAB2}" presName="node" presStyleLbl="node1" presStyleIdx="3" presStyleCnt="4" custRadScaleRad="97407">
        <dgm:presLayoutVars>
          <dgm:bulletEnabled val="1"/>
        </dgm:presLayoutVars>
      </dgm:prSet>
      <dgm:spPr/>
    </dgm:pt>
    <dgm:pt modelId="{7F4325C7-B599-4FCD-9DEE-1049842409CA}" type="pres">
      <dgm:prSet presAssocID="{2D205720-D78D-4446-88D9-C735D4886E67}" presName="sibTrans" presStyleLbl="sibTrans2D1" presStyleIdx="3" presStyleCnt="4"/>
      <dgm:spPr/>
    </dgm:pt>
    <dgm:pt modelId="{909B4EE2-2319-4191-A238-60C1A2F567BC}" type="pres">
      <dgm:prSet presAssocID="{2D205720-D78D-4446-88D9-C735D4886E67}" presName="connectorText" presStyleLbl="sibTrans2D1" presStyleIdx="3" presStyleCnt="4"/>
      <dgm:spPr/>
    </dgm:pt>
  </dgm:ptLst>
  <dgm:cxnLst>
    <dgm:cxn modelId="{87BB9F2A-A49D-4391-B41E-A8BE41041F9F}" srcId="{677D0F70-24FE-44D1-A2F6-3E440FCD0187}" destId="{41FBE801-1EFB-49BA-BD07-D90FEC2D6570}" srcOrd="0" destOrd="0" parTransId="{866EDBE4-6100-48D1-B3F1-E478154BCC4E}" sibTransId="{1008EF36-AACA-40DD-91F3-CBD6D362727A}"/>
    <dgm:cxn modelId="{317DB730-B795-47E3-BD6E-B757D415DBDC}" type="presOf" srcId="{7CEB0D63-B187-4117-93D4-B356A6825B66}" destId="{BE06F917-B9C0-4D3D-9A77-ED50C4EA3143}" srcOrd="0" destOrd="0" presId="urn:microsoft.com/office/officeart/2005/8/layout/cycle2"/>
    <dgm:cxn modelId="{2AB93031-946D-4CB8-8984-8082D90A1893}" type="presOf" srcId="{1008EF36-AACA-40DD-91F3-CBD6D362727A}" destId="{A3D0793D-E3DA-476E-A516-D21D051C3066}" srcOrd="1" destOrd="0" presId="urn:microsoft.com/office/officeart/2005/8/layout/cycle2"/>
    <dgm:cxn modelId="{86F9325C-E782-4E91-84A7-FAEA6ED85E62}" type="presOf" srcId="{C9BE0DA7-3A69-4E97-97FB-85E1C15F2C22}" destId="{B4324613-23D5-4AD7-84C7-75B5450D198C}" srcOrd="0" destOrd="0" presId="urn:microsoft.com/office/officeart/2005/8/layout/cycle2"/>
    <dgm:cxn modelId="{5E75FE41-9617-46CC-BEFE-B46D056F8D61}" type="presOf" srcId="{677D0F70-24FE-44D1-A2F6-3E440FCD0187}" destId="{F3EB4CF0-253C-47E0-98E5-98874732B24E}" srcOrd="0" destOrd="0" presId="urn:microsoft.com/office/officeart/2005/8/layout/cycle2"/>
    <dgm:cxn modelId="{5DEF2F42-1F9D-4087-975B-56E10C288E62}" srcId="{677D0F70-24FE-44D1-A2F6-3E440FCD0187}" destId="{C9BE0DA7-3A69-4E97-97FB-85E1C15F2C22}" srcOrd="1" destOrd="0" parTransId="{01EAF210-1156-4F05-9EA7-7D90C583D858}" sibTransId="{7CEB0D63-B187-4117-93D4-B356A6825B66}"/>
    <dgm:cxn modelId="{73198768-C6DF-46A6-83F3-4B189C9542D2}" srcId="{677D0F70-24FE-44D1-A2F6-3E440FCD0187}" destId="{BAED7F55-A226-456B-8545-C0B1434EFAB2}" srcOrd="3" destOrd="0" parTransId="{850496D9-AA2D-4BCA-B1EF-FDDA0CE2FA64}" sibTransId="{2D205720-D78D-4446-88D9-C735D4886E67}"/>
    <dgm:cxn modelId="{20F8F36B-F4D2-447E-A02F-9F709103E783}" type="presOf" srcId="{41FBE801-1EFB-49BA-BD07-D90FEC2D6570}" destId="{04C070DB-7DD2-4189-B253-F04B5D615D48}" srcOrd="0" destOrd="0" presId="urn:microsoft.com/office/officeart/2005/8/layout/cycle2"/>
    <dgm:cxn modelId="{9543444C-B945-4B6A-AEBF-0A051D961F5A}" type="presOf" srcId="{7CEB0D63-B187-4117-93D4-B356A6825B66}" destId="{62D4CDDE-99B4-4EE7-96C0-940077BA65D2}" srcOrd="1" destOrd="0" presId="urn:microsoft.com/office/officeart/2005/8/layout/cycle2"/>
    <dgm:cxn modelId="{71DD2455-DD0C-417B-9AA6-47E3D3946C6C}" type="presOf" srcId="{1008EF36-AACA-40DD-91F3-CBD6D362727A}" destId="{50E96061-6722-49D7-BB5C-29CD52A6325A}" srcOrd="0" destOrd="0" presId="urn:microsoft.com/office/officeart/2005/8/layout/cycle2"/>
    <dgm:cxn modelId="{1C7F8D7C-DED8-49BD-8C06-3B4A7B259631}" type="presOf" srcId="{CFD0FEE7-8ADF-4FC2-BD77-20804538FFEC}" destId="{DDC00CEF-0695-4BAA-B28E-4262C78F2040}" srcOrd="1" destOrd="0" presId="urn:microsoft.com/office/officeart/2005/8/layout/cycle2"/>
    <dgm:cxn modelId="{060ACA80-60E1-489A-9708-4A7A788E6E80}" type="presOf" srcId="{2D205720-D78D-4446-88D9-C735D4886E67}" destId="{909B4EE2-2319-4191-A238-60C1A2F567BC}" srcOrd="1" destOrd="0" presId="urn:microsoft.com/office/officeart/2005/8/layout/cycle2"/>
    <dgm:cxn modelId="{F02E87A2-4F0E-4ED3-865A-F266AA8AA7E2}" type="presOf" srcId="{E633D7AF-8D47-455A-90A6-FC65DA444C33}" destId="{E373FB08-83F7-4767-9B9F-6EFF832CC513}" srcOrd="0" destOrd="0" presId="urn:microsoft.com/office/officeart/2005/8/layout/cycle2"/>
    <dgm:cxn modelId="{D7546FCF-9C83-46DA-AA45-8F3A668E1755}" type="presOf" srcId="{CFD0FEE7-8ADF-4FC2-BD77-20804538FFEC}" destId="{ECA2E26A-A1A8-407A-942F-EC9457C20DE0}" srcOrd="0" destOrd="0" presId="urn:microsoft.com/office/officeart/2005/8/layout/cycle2"/>
    <dgm:cxn modelId="{E1BFF6D8-14C3-4ECE-A5C9-A4B7CFC00C04}" srcId="{677D0F70-24FE-44D1-A2F6-3E440FCD0187}" destId="{E633D7AF-8D47-455A-90A6-FC65DA444C33}" srcOrd="2" destOrd="0" parTransId="{5D7A808F-C12C-4037-9D39-741905E2BE95}" sibTransId="{CFD0FEE7-8ADF-4FC2-BD77-20804538FFEC}"/>
    <dgm:cxn modelId="{6D896FE3-75CA-40E7-BABA-0A42386C9D9F}" type="presOf" srcId="{2D205720-D78D-4446-88D9-C735D4886E67}" destId="{7F4325C7-B599-4FCD-9DEE-1049842409CA}" srcOrd="0" destOrd="0" presId="urn:microsoft.com/office/officeart/2005/8/layout/cycle2"/>
    <dgm:cxn modelId="{C1BFF3F1-FCCF-4DDD-9E55-7174B9DB1E2E}" type="presOf" srcId="{BAED7F55-A226-456B-8545-C0B1434EFAB2}" destId="{2A50F81E-D3D9-4EE4-9D94-3A895F3C102B}" srcOrd="0" destOrd="0" presId="urn:microsoft.com/office/officeart/2005/8/layout/cycle2"/>
    <dgm:cxn modelId="{1CAAFD71-DD00-419F-B654-24B5DD58725F}" type="presParOf" srcId="{F3EB4CF0-253C-47E0-98E5-98874732B24E}" destId="{04C070DB-7DD2-4189-B253-F04B5D615D48}" srcOrd="0" destOrd="0" presId="urn:microsoft.com/office/officeart/2005/8/layout/cycle2"/>
    <dgm:cxn modelId="{07BE0D3B-4F98-49AE-B611-1093E4DA2F3E}" type="presParOf" srcId="{F3EB4CF0-253C-47E0-98E5-98874732B24E}" destId="{50E96061-6722-49D7-BB5C-29CD52A6325A}" srcOrd="1" destOrd="0" presId="urn:microsoft.com/office/officeart/2005/8/layout/cycle2"/>
    <dgm:cxn modelId="{3DDD26F8-505D-481C-B63E-6C3238B1E872}" type="presParOf" srcId="{50E96061-6722-49D7-BB5C-29CD52A6325A}" destId="{A3D0793D-E3DA-476E-A516-D21D051C3066}" srcOrd="0" destOrd="0" presId="urn:microsoft.com/office/officeart/2005/8/layout/cycle2"/>
    <dgm:cxn modelId="{5AA49D57-8888-4149-BA4D-A7B652BB1F24}" type="presParOf" srcId="{F3EB4CF0-253C-47E0-98E5-98874732B24E}" destId="{B4324613-23D5-4AD7-84C7-75B5450D198C}" srcOrd="2" destOrd="0" presId="urn:microsoft.com/office/officeart/2005/8/layout/cycle2"/>
    <dgm:cxn modelId="{0C6FFE11-04FA-4D3F-8287-4E89522CFD57}" type="presParOf" srcId="{F3EB4CF0-253C-47E0-98E5-98874732B24E}" destId="{BE06F917-B9C0-4D3D-9A77-ED50C4EA3143}" srcOrd="3" destOrd="0" presId="urn:microsoft.com/office/officeart/2005/8/layout/cycle2"/>
    <dgm:cxn modelId="{D2BEDFA8-83E8-499F-92E9-54790DA0EAE6}" type="presParOf" srcId="{BE06F917-B9C0-4D3D-9A77-ED50C4EA3143}" destId="{62D4CDDE-99B4-4EE7-96C0-940077BA65D2}" srcOrd="0" destOrd="0" presId="urn:microsoft.com/office/officeart/2005/8/layout/cycle2"/>
    <dgm:cxn modelId="{660D7796-D480-4B7A-B01B-82D6A2BD0969}" type="presParOf" srcId="{F3EB4CF0-253C-47E0-98E5-98874732B24E}" destId="{E373FB08-83F7-4767-9B9F-6EFF832CC513}" srcOrd="4" destOrd="0" presId="urn:microsoft.com/office/officeart/2005/8/layout/cycle2"/>
    <dgm:cxn modelId="{5C8F055A-364E-425C-BF9D-DA5512944AFF}" type="presParOf" srcId="{F3EB4CF0-253C-47E0-98E5-98874732B24E}" destId="{ECA2E26A-A1A8-407A-942F-EC9457C20DE0}" srcOrd="5" destOrd="0" presId="urn:microsoft.com/office/officeart/2005/8/layout/cycle2"/>
    <dgm:cxn modelId="{82780C1C-DA67-4A75-BDD3-B319E2932975}" type="presParOf" srcId="{ECA2E26A-A1A8-407A-942F-EC9457C20DE0}" destId="{DDC00CEF-0695-4BAA-B28E-4262C78F2040}" srcOrd="0" destOrd="0" presId="urn:microsoft.com/office/officeart/2005/8/layout/cycle2"/>
    <dgm:cxn modelId="{D78346CA-3365-4139-B280-AF8B92212AF4}" type="presParOf" srcId="{F3EB4CF0-253C-47E0-98E5-98874732B24E}" destId="{2A50F81E-D3D9-4EE4-9D94-3A895F3C102B}" srcOrd="6" destOrd="0" presId="urn:microsoft.com/office/officeart/2005/8/layout/cycle2"/>
    <dgm:cxn modelId="{E0C7550A-89B4-478C-9216-E09E38EBD76D}" type="presParOf" srcId="{F3EB4CF0-253C-47E0-98E5-98874732B24E}" destId="{7F4325C7-B599-4FCD-9DEE-1049842409CA}" srcOrd="7" destOrd="0" presId="urn:microsoft.com/office/officeart/2005/8/layout/cycle2"/>
    <dgm:cxn modelId="{008A31AE-CBC7-4007-9097-37367898F3D5}" type="presParOf" srcId="{7F4325C7-B599-4FCD-9DEE-1049842409CA}" destId="{909B4EE2-2319-4191-A238-60C1A2F567BC}"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95FDF8-5556-429F-9032-ED8D60190EA3}">
      <dsp:nvSpPr>
        <dsp:cNvPr id="0" name=""/>
        <dsp:cNvSpPr/>
      </dsp:nvSpPr>
      <dsp:spPr>
        <a:xfrm>
          <a:off x="3094" y="7601"/>
          <a:ext cx="1860500" cy="744200"/>
        </a:xfrm>
        <a:prstGeom prst="rect">
          <a:avLst/>
        </a:prstGeom>
        <a:solidFill>
          <a:schemeClr val="tx1"/>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b="1" kern="1200" dirty="0"/>
            <a:t>Defect-based techniques</a:t>
          </a:r>
        </a:p>
      </dsp:txBody>
      <dsp:txXfrm>
        <a:off x="3094" y="7601"/>
        <a:ext cx="1860500" cy="744200"/>
      </dsp:txXfrm>
    </dsp:sp>
    <dsp:sp modelId="{C0E7D1EC-D9A9-4544-BF6E-5662E3E837B2}">
      <dsp:nvSpPr>
        <dsp:cNvPr id="0" name=""/>
        <dsp:cNvSpPr/>
      </dsp:nvSpPr>
      <dsp:spPr>
        <a:xfrm>
          <a:off x="3094" y="751801"/>
          <a:ext cx="1860500" cy="2547360"/>
        </a:xfrm>
        <a:prstGeom prst="rect">
          <a:avLst/>
        </a:prstGeom>
        <a:solidFill>
          <a:schemeClr val="accent4">
            <a:alpha val="90000"/>
            <a:tint val="40000"/>
            <a:hueOff val="0"/>
            <a:satOff val="0"/>
            <a:lumOff val="0"/>
            <a:alphaOff val="0"/>
          </a:schemeClr>
        </a:solidFill>
        <a:ln w="25400"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Taxonomies</a:t>
          </a:r>
        </a:p>
      </dsp:txBody>
      <dsp:txXfrm>
        <a:off x="3094" y="751801"/>
        <a:ext cx="1860500" cy="2547360"/>
      </dsp:txXfrm>
    </dsp:sp>
    <dsp:sp modelId="{FC21E54C-BC60-4B00-B936-05ADFF2C3BFF}">
      <dsp:nvSpPr>
        <dsp:cNvPr id="0" name=""/>
        <dsp:cNvSpPr/>
      </dsp:nvSpPr>
      <dsp:spPr>
        <a:xfrm>
          <a:off x="2124064" y="7601"/>
          <a:ext cx="1860500" cy="744200"/>
        </a:xfrm>
        <a:prstGeom prst="rect">
          <a:avLst/>
        </a:prstGeom>
        <a:solidFill>
          <a:schemeClr val="tx1"/>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b="1" kern="1200" dirty="0"/>
            <a:t>Specification-based or Black-box techniques</a:t>
          </a:r>
        </a:p>
      </dsp:txBody>
      <dsp:txXfrm>
        <a:off x="2124064" y="7601"/>
        <a:ext cx="1860500" cy="744200"/>
      </dsp:txXfrm>
    </dsp:sp>
    <dsp:sp modelId="{52F95F55-D6BC-47B0-B1C2-BE28C6E745EF}">
      <dsp:nvSpPr>
        <dsp:cNvPr id="0" name=""/>
        <dsp:cNvSpPr/>
      </dsp:nvSpPr>
      <dsp:spPr>
        <a:xfrm>
          <a:off x="2124064" y="751801"/>
          <a:ext cx="1860500" cy="2547360"/>
        </a:xfrm>
        <a:prstGeom prst="rect">
          <a:avLst/>
        </a:prstGeom>
        <a:solidFill>
          <a:schemeClr val="accent4">
            <a:alpha val="90000"/>
            <a:tint val="40000"/>
            <a:hueOff val="0"/>
            <a:satOff val="0"/>
            <a:lumOff val="0"/>
            <a:alphaOff val="0"/>
          </a:schemeClr>
        </a:solidFill>
        <a:ln w="25400"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b="0" kern="1200" dirty="0"/>
            <a:t>EP</a:t>
          </a:r>
        </a:p>
        <a:p>
          <a:pPr marL="114300" lvl="1" indent="-114300" algn="l" defTabSz="622300">
            <a:lnSpc>
              <a:spcPct val="90000"/>
            </a:lnSpc>
            <a:spcBef>
              <a:spcPct val="0"/>
            </a:spcBef>
            <a:spcAft>
              <a:spcPct val="15000"/>
            </a:spcAft>
            <a:buChar char="•"/>
          </a:pPr>
          <a:r>
            <a:rPr lang="en-US" sz="1400" b="0" kern="1200" dirty="0"/>
            <a:t>BVA</a:t>
          </a:r>
        </a:p>
        <a:p>
          <a:pPr marL="114300" lvl="1" indent="-114300" algn="l" defTabSz="622300">
            <a:lnSpc>
              <a:spcPct val="90000"/>
            </a:lnSpc>
            <a:spcBef>
              <a:spcPct val="0"/>
            </a:spcBef>
            <a:spcAft>
              <a:spcPct val="15000"/>
            </a:spcAft>
            <a:buChar char="•"/>
          </a:pPr>
          <a:r>
            <a:rPr lang="en-US" sz="1400" b="0" kern="1200" dirty="0"/>
            <a:t>Decision table testing</a:t>
          </a:r>
        </a:p>
        <a:p>
          <a:pPr marL="114300" lvl="1" indent="-114300" algn="l" defTabSz="622300">
            <a:lnSpc>
              <a:spcPct val="90000"/>
            </a:lnSpc>
            <a:spcBef>
              <a:spcPct val="0"/>
            </a:spcBef>
            <a:spcAft>
              <a:spcPct val="15000"/>
            </a:spcAft>
            <a:buChar char="•"/>
          </a:pPr>
          <a:r>
            <a:rPr lang="en-US" sz="1400" b="0" kern="1200" dirty="0"/>
            <a:t>State transition testing</a:t>
          </a:r>
        </a:p>
        <a:p>
          <a:pPr marL="114300" lvl="1" indent="-114300" algn="l" defTabSz="622300">
            <a:lnSpc>
              <a:spcPct val="90000"/>
            </a:lnSpc>
            <a:spcBef>
              <a:spcPct val="0"/>
            </a:spcBef>
            <a:spcAft>
              <a:spcPct val="15000"/>
            </a:spcAft>
            <a:buChar char="•"/>
          </a:pPr>
          <a:r>
            <a:rPr lang="en-US" sz="1400" b="0" kern="1200" dirty="0"/>
            <a:t>Orthogonal arrays / all pairs tables</a:t>
          </a:r>
        </a:p>
        <a:p>
          <a:pPr marL="114300" lvl="1" indent="-114300" algn="l" defTabSz="622300">
            <a:lnSpc>
              <a:spcPct val="90000"/>
            </a:lnSpc>
            <a:spcBef>
              <a:spcPct val="0"/>
            </a:spcBef>
            <a:spcAft>
              <a:spcPct val="15000"/>
            </a:spcAft>
            <a:buChar char="•"/>
          </a:pPr>
          <a:r>
            <a:rPr lang="en-US" sz="1400" b="0" kern="1200" dirty="0"/>
            <a:t>Use case testing</a:t>
          </a:r>
        </a:p>
      </dsp:txBody>
      <dsp:txXfrm>
        <a:off x="2124064" y="751801"/>
        <a:ext cx="1860500" cy="2547360"/>
      </dsp:txXfrm>
    </dsp:sp>
    <dsp:sp modelId="{7C435381-D8D3-47B7-BB3F-5C38051E4310}">
      <dsp:nvSpPr>
        <dsp:cNvPr id="0" name=""/>
        <dsp:cNvSpPr/>
      </dsp:nvSpPr>
      <dsp:spPr>
        <a:xfrm>
          <a:off x="4245035" y="7601"/>
          <a:ext cx="1860500" cy="744200"/>
        </a:xfrm>
        <a:prstGeom prst="rect">
          <a:avLst/>
        </a:prstGeom>
        <a:solidFill>
          <a:schemeClr val="tx1"/>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b="1" kern="1200" dirty="0"/>
            <a:t>Structure-based or White-box techniques</a:t>
          </a:r>
        </a:p>
      </dsp:txBody>
      <dsp:txXfrm>
        <a:off x="4245035" y="7601"/>
        <a:ext cx="1860500" cy="744200"/>
      </dsp:txXfrm>
    </dsp:sp>
    <dsp:sp modelId="{8806D37B-D241-43A3-926F-E0A838191AC9}">
      <dsp:nvSpPr>
        <dsp:cNvPr id="0" name=""/>
        <dsp:cNvSpPr/>
      </dsp:nvSpPr>
      <dsp:spPr>
        <a:xfrm>
          <a:off x="4245035" y="751801"/>
          <a:ext cx="1860500" cy="2547360"/>
        </a:xfrm>
        <a:prstGeom prst="rect">
          <a:avLst/>
        </a:prstGeom>
        <a:solidFill>
          <a:schemeClr val="accent4">
            <a:alpha val="90000"/>
            <a:tint val="40000"/>
            <a:hueOff val="0"/>
            <a:satOff val="0"/>
            <a:lumOff val="0"/>
            <a:alphaOff val="0"/>
          </a:schemeClr>
        </a:solidFill>
        <a:ln w="25400"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b="0" kern="1200" dirty="0"/>
            <a:t>Statement testing</a:t>
          </a:r>
        </a:p>
        <a:p>
          <a:pPr marL="114300" lvl="1" indent="-114300" algn="l" defTabSz="622300">
            <a:lnSpc>
              <a:spcPct val="90000"/>
            </a:lnSpc>
            <a:spcBef>
              <a:spcPct val="0"/>
            </a:spcBef>
            <a:spcAft>
              <a:spcPct val="15000"/>
            </a:spcAft>
            <a:buChar char="•"/>
          </a:pPr>
          <a:r>
            <a:rPr lang="en-US" sz="1400" b="0" kern="1200" dirty="0"/>
            <a:t>Decision testing</a:t>
          </a:r>
        </a:p>
        <a:p>
          <a:pPr marL="114300" lvl="1" indent="-114300" algn="l" defTabSz="622300">
            <a:lnSpc>
              <a:spcPct val="90000"/>
            </a:lnSpc>
            <a:spcBef>
              <a:spcPct val="0"/>
            </a:spcBef>
            <a:spcAft>
              <a:spcPct val="15000"/>
            </a:spcAft>
            <a:buChar char="•"/>
          </a:pPr>
          <a:r>
            <a:rPr lang="en-US" sz="1400" b="0" kern="1200" dirty="0"/>
            <a:t>Condition / Multiple condition / Condition determination testing</a:t>
          </a:r>
        </a:p>
        <a:p>
          <a:pPr marL="114300" lvl="1" indent="-114300" algn="l" defTabSz="622300">
            <a:lnSpc>
              <a:spcPct val="90000"/>
            </a:lnSpc>
            <a:spcBef>
              <a:spcPct val="0"/>
            </a:spcBef>
            <a:spcAft>
              <a:spcPct val="15000"/>
            </a:spcAft>
            <a:buChar char="•"/>
          </a:pPr>
          <a:r>
            <a:rPr lang="en-US" sz="1400" b="0" kern="1200" dirty="0"/>
            <a:t>Path testing</a:t>
          </a:r>
        </a:p>
        <a:p>
          <a:pPr marL="114300" lvl="1" indent="-114300" algn="l" defTabSz="622300">
            <a:lnSpc>
              <a:spcPct val="90000"/>
            </a:lnSpc>
            <a:spcBef>
              <a:spcPct val="0"/>
            </a:spcBef>
            <a:spcAft>
              <a:spcPct val="15000"/>
            </a:spcAft>
            <a:buChar char="•"/>
          </a:pPr>
          <a:r>
            <a:rPr lang="en-US" sz="1400" b="0" kern="1200" dirty="0"/>
            <a:t>LCSAJ</a:t>
          </a:r>
        </a:p>
      </dsp:txBody>
      <dsp:txXfrm>
        <a:off x="4245035" y="751801"/>
        <a:ext cx="1860500" cy="2547360"/>
      </dsp:txXfrm>
    </dsp:sp>
    <dsp:sp modelId="{FF2FF8C9-1F6C-4449-B3B2-439CE5481514}">
      <dsp:nvSpPr>
        <dsp:cNvPr id="0" name=""/>
        <dsp:cNvSpPr/>
      </dsp:nvSpPr>
      <dsp:spPr>
        <a:xfrm>
          <a:off x="6366005" y="7601"/>
          <a:ext cx="1860500" cy="744200"/>
        </a:xfrm>
        <a:prstGeom prst="rect">
          <a:avLst/>
        </a:prstGeom>
        <a:solidFill>
          <a:schemeClr val="tx1"/>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b="1" kern="1200" dirty="0"/>
            <a:t>Experience-based techniques</a:t>
          </a:r>
        </a:p>
      </dsp:txBody>
      <dsp:txXfrm>
        <a:off x="6366005" y="7601"/>
        <a:ext cx="1860500" cy="744200"/>
      </dsp:txXfrm>
    </dsp:sp>
    <dsp:sp modelId="{CFC034BA-ECD9-473F-A739-224FAFEC0F3F}">
      <dsp:nvSpPr>
        <dsp:cNvPr id="0" name=""/>
        <dsp:cNvSpPr/>
      </dsp:nvSpPr>
      <dsp:spPr>
        <a:xfrm>
          <a:off x="6366005" y="751801"/>
          <a:ext cx="1860500" cy="2547360"/>
        </a:xfrm>
        <a:prstGeom prst="rect">
          <a:avLst/>
        </a:prstGeom>
        <a:solidFill>
          <a:schemeClr val="accent4">
            <a:alpha val="90000"/>
            <a:tint val="40000"/>
            <a:hueOff val="0"/>
            <a:satOff val="0"/>
            <a:lumOff val="0"/>
            <a:alphaOff val="0"/>
          </a:schemeClr>
        </a:solidFill>
        <a:ln w="25400"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b="0" kern="1200" dirty="0"/>
            <a:t>Error guessing</a:t>
          </a:r>
        </a:p>
        <a:p>
          <a:pPr marL="114300" lvl="1" indent="-114300" algn="l" defTabSz="622300">
            <a:lnSpc>
              <a:spcPct val="90000"/>
            </a:lnSpc>
            <a:spcBef>
              <a:spcPct val="0"/>
            </a:spcBef>
            <a:spcAft>
              <a:spcPct val="15000"/>
            </a:spcAft>
            <a:buChar char="•"/>
          </a:pPr>
          <a:r>
            <a:rPr lang="en-US" sz="1400" b="0" kern="1200" dirty="0"/>
            <a:t>Checklist-based testing</a:t>
          </a:r>
        </a:p>
        <a:p>
          <a:pPr marL="114300" lvl="1" indent="-114300" algn="l" defTabSz="622300">
            <a:lnSpc>
              <a:spcPct val="90000"/>
            </a:lnSpc>
            <a:spcBef>
              <a:spcPct val="0"/>
            </a:spcBef>
            <a:spcAft>
              <a:spcPct val="15000"/>
            </a:spcAft>
            <a:buChar char="•"/>
          </a:pPr>
          <a:r>
            <a:rPr lang="en-US" sz="1400" b="1" kern="1200" dirty="0"/>
            <a:t>Exploratory testing</a:t>
          </a:r>
        </a:p>
        <a:p>
          <a:pPr marL="114300" lvl="1" indent="-114300" algn="l" defTabSz="622300">
            <a:lnSpc>
              <a:spcPct val="90000"/>
            </a:lnSpc>
            <a:spcBef>
              <a:spcPct val="0"/>
            </a:spcBef>
            <a:spcAft>
              <a:spcPct val="15000"/>
            </a:spcAft>
            <a:buChar char="•"/>
          </a:pPr>
          <a:r>
            <a:rPr lang="en-US" sz="1400" b="0" kern="1200" dirty="0"/>
            <a:t>Attacks</a:t>
          </a:r>
        </a:p>
      </dsp:txBody>
      <dsp:txXfrm>
        <a:off x="6366005" y="751801"/>
        <a:ext cx="1860500" cy="25473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C070DB-7DD2-4189-B253-F04B5D615D48}">
      <dsp:nvSpPr>
        <dsp:cNvPr id="0" name=""/>
        <dsp:cNvSpPr/>
      </dsp:nvSpPr>
      <dsp:spPr>
        <a:xfrm>
          <a:off x="1177751" y="78706"/>
          <a:ext cx="1110064" cy="111006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fi-FI" sz="1600" kern="1200" dirty="0"/>
            <a:t>Test </a:t>
          </a:r>
          <a:r>
            <a:rPr lang="fi-FI" sz="1600" kern="1200" dirty="0" err="1"/>
            <a:t>system</a:t>
          </a:r>
          <a:r>
            <a:rPr lang="fi-FI" sz="1600" kern="1200" dirty="0"/>
            <a:t> 1</a:t>
          </a:r>
        </a:p>
      </dsp:txBody>
      <dsp:txXfrm>
        <a:off x="1340316" y="241271"/>
        <a:ext cx="784934" cy="784934"/>
      </dsp:txXfrm>
    </dsp:sp>
    <dsp:sp modelId="{50E96061-6722-49D7-BB5C-29CD52A6325A}">
      <dsp:nvSpPr>
        <dsp:cNvPr id="0" name=""/>
        <dsp:cNvSpPr/>
      </dsp:nvSpPr>
      <dsp:spPr>
        <a:xfrm rot="2700000">
          <a:off x="2168541" y="1029352"/>
          <a:ext cx="294357" cy="37464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fi-FI" sz="1200" kern="1200"/>
        </a:p>
      </dsp:txBody>
      <dsp:txXfrm>
        <a:off x="2181473" y="1073060"/>
        <a:ext cx="206050" cy="224788"/>
      </dsp:txXfrm>
    </dsp:sp>
    <dsp:sp modelId="{B4324613-23D5-4AD7-84C7-75B5450D198C}">
      <dsp:nvSpPr>
        <dsp:cNvPr id="0" name=""/>
        <dsp:cNvSpPr/>
      </dsp:nvSpPr>
      <dsp:spPr>
        <a:xfrm>
          <a:off x="2355405" y="1256361"/>
          <a:ext cx="1110064" cy="1110064"/>
        </a:xfrm>
        <a:prstGeom prst="ellipse">
          <a:avLst/>
        </a:prstGeom>
        <a:solidFill>
          <a:srgbClr val="A8BB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fi-FI" sz="1600" kern="1200" dirty="0"/>
            <a:t>Test System 2</a:t>
          </a:r>
        </a:p>
      </dsp:txBody>
      <dsp:txXfrm>
        <a:off x="2517970" y="1418926"/>
        <a:ext cx="784934" cy="784934"/>
      </dsp:txXfrm>
    </dsp:sp>
    <dsp:sp modelId="{BE06F917-B9C0-4D3D-9A77-ED50C4EA3143}">
      <dsp:nvSpPr>
        <dsp:cNvPr id="0" name=""/>
        <dsp:cNvSpPr/>
      </dsp:nvSpPr>
      <dsp:spPr>
        <a:xfrm rot="8100000">
          <a:off x="2180323" y="2207006"/>
          <a:ext cx="294357" cy="37464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fi-FI" sz="1200" kern="1200"/>
        </a:p>
      </dsp:txBody>
      <dsp:txXfrm rot="10800000">
        <a:off x="2255698" y="2250714"/>
        <a:ext cx="206050" cy="224788"/>
      </dsp:txXfrm>
    </dsp:sp>
    <dsp:sp modelId="{E373FB08-83F7-4767-9B9F-6EFF832CC513}">
      <dsp:nvSpPr>
        <dsp:cNvPr id="0" name=""/>
        <dsp:cNvSpPr/>
      </dsp:nvSpPr>
      <dsp:spPr>
        <a:xfrm>
          <a:off x="1177751" y="2434015"/>
          <a:ext cx="1110064" cy="1110064"/>
        </a:xfrm>
        <a:prstGeom prst="ellipse">
          <a:avLst/>
        </a:prstGeom>
        <a:solidFill>
          <a:srgbClr val="6871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fi-FI" sz="1600" kern="1200" dirty="0"/>
            <a:t>Test System 3</a:t>
          </a:r>
        </a:p>
      </dsp:txBody>
      <dsp:txXfrm>
        <a:off x="1340316" y="2596580"/>
        <a:ext cx="784934" cy="784934"/>
      </dsp:txXfrm>
    </dsp:sp>
    <dsp:sp modelId="{ECA2E26A-A1A8-407A-942F-EC9457C20DE0}">
      <dsp:nvSpPr>
        <dsp:cNvPr id="0" name=""/>
        <dsp:cNvSpPr/>
      </dsp:nvSpPr>
      <dsp:spPr>
        <a:xfrm rot="13545153">
          <a:off x="1023318" y="2218634"/>
          <a:ext cx="282988" cy="37464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fi-FI" sz="1200" kern="1200"/>
        </a:p>
      </dsp:txBody>
      <dsp:txXfrm rot="10800000">
        <a:off x="1095384" y="2323970"/>
        <a:ext cx="198092" cy="224788"/>
      </dsp:txXfrm>
    </dsp:sp>
    <dsp:sp modelId="{2A50F81E-D3D9-4EE4-9D94-3A895F3C102B}">
      <dsp:nvSpPr>
        <dsp:cNvPr id="0" name=""/>
        <dsp:cNvSpPr/>
      </dsp:nvSpPr>
      <dsp:spPr>
        <a:xfrm>
          <a:off x="30633" y="1256361"/>
          <a:ext cx="1110064" cy="1110064"/>
        </a:xfrm>
        <a:prstGeom prst="ellipse">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fi-FI" sz="1600" kern="1200" dirty="0"/>
            <a:t>Test System 4</a:t>
          </a:r>
        </a:p>
      </dsp:txBody>
      <dsp:txXfrm>
        <a:off x="193198" y="1418926"/>
        <a:ext cx="784934" cy="784934"/>
      </dsp:txXfrm>
    </dsp:sp>
    <dsp:sp modelId="{7F4325C7-B599-4FCD-9DEE-1049842409CA}">
      <dsp:nvSpPr>
        <dsp:cNvPr id="0" name=""/>
        <dsp:cNvSpPr/>
      </dsp:nvSpPr>
      <dsp:spPr>
        <a:xfrm rot="18854847">
          <a:off x="1012142" y="1040980"/>
          <a:ext cx="282988" cy="37464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fi-FI" sz="1200" kern="1200" dirty="0"/>
        </a:p>
      </dsp:txBody>
      <dsp:txXfrm>
        <a:off x="1024972" y="1146316"/>
        <a:ext cx="198092" cy="224788"/>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E3A1A956-FBA6-4D44-9717-88B588F88EA2}" type="datetimeFigureOut">
              <a:rPr lang="en-US"/>
              <a:pPr>
                <a:defRPr/>
              </a:pPr>
              <a:t>3/17/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6EB7DA75-3119-461F-BBD9-15CADFA283A7}" type="slidenum">
              <a:rPr lang="en-US"/>
              <a:pPr>
                <a:defRPr/>
              </a:pPr>
              <a:t>‹#›</a:t>
            </a:fld>
            <a:endParaRPr lang="en-US"/>
          </a:p>
        </p:txBody>
      </p:sp>
    </p:spTree>
    <p:extLst>
      <p:ext uri="{BB962C8B-B14F-4D97-AF65-F5344CB8AC3E}">
        <p14:creationId xmlns:p14="http://schemas.microsoft.com/office/powerpoint/2010/main" val="386759862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32CF6B7E-5EE0-4686-A335-20EF82FA6D28}" type="datetimeFigureOut">
              <a:rPr lang="en-US"/>
              <a:pPr>
                <a:defRPr/>
              </a:pPr>
              <a:t>3/17/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26C2616F-011D-47B3-A2C1-4E16F11993E6}" type="slidenum">
              <a:rPr lang="en-US"/>
              <a:pPr>
                <a:defRPr/>
              </a:pPr>
              <a:t>‹#›</a:t>
            </a:fld>
            <a:endParaRPr lang="en-US"/>
          </a:p>
        </p:txBody>
      </p:sp>
    </p:spTree>
    <p:extLst>
      <p:ext uri="{BB962C8B-B14F-4D97-AF65-F5344CB8AC3E}">
        <p14:creationId xmlns:p14="http://schemas.microsoft.com/office/powerpoint/2010/main" val="977992471"/>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charset="0"/>
      </a:defRPr>
    </a:lvl1pPr>
    <a:lvl2pPr marL="4572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2pPr>
    <a:lvl3pPr marL="9144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3pPr>
    <a:lvl4pPr marL="13716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4pPr>
    <a:lvl5pPr marL="18288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536575"/>
            <a:ext cx="6616700" cy="3722688"/>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431933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5738" marR="0" lvl="0" indent="-185738" algn="l" defTabSz="457200" rtl="0" eaLnBrk="0" fontAlgn="base" latinLnBrk="0" hangingPunct="0">
              <a:lnSpc>
                <a:spcPct val="100000"/>
              </a:lnSpc>
              <a:spcBef>
                <a:spcPts val="0"/>
              </a:spcBef>
              <a:spcAft>
                <a:spcPts val="600"/>
              </a:spcAft>
              <a:buClr>
                <a:srgbClr val="001135"/>
              </a:buClr>
              <a:buSzTx/>
              <a:buFont typeface="Arial" panose="020B0604020202020204" pitchFamily="34" charset="0"/>
              <a:buChar char="•"/>
              <a:tabLst/>
              <a:defRPr/>
            </a:pPr>
            <a:r>
              <a:rPr lang="en-IE" sz="1600" dirty="0">
                <a:solidFill>
                  <a:srgbClr val="FF0000"/>
                </a:solidFill>
              </a:rPr>
              <a:t>Would emphasise here that bug hunting can also be applied to development phase testing, not just SV. Also, it is worth saying we had 50% testers and 50% dev teams. </a:t>
            </a:r>
          </a:p>
          <a:p>
            <a:pPr marL="185738" indent="-185738">
              <a:spcBef>
                <a:spcPts val="0"/>
              </a:spcBef>
              <a:spcAft>
                <a:spcPts val="600"/>
              </a:spcAft>
              <a:buClr>
                <a:srgbClr val="001135"/>
              </a:buClr>
              <a:buFont typeface="Arial" panose="020B0604020202020204" pitchFamily="34" charset="0"/>
              <a:buChar char="•"/>
            </a:pPr>
            <a:endParaRPr lang="en-US" sz="1600" dirty="0">
              <a:latin typeface="+mn-lt"/>
              <a:ea typeface="Nokia Pure Text" panose="020B0503020202020204" pitchFamily="34" charset="0"/>
              <a:cs typeface="Nokia Pure Headline Light"/>
            </a:endParaRPr>
          </a:p>
          <a:p>
            <a:pPr marL="185738" indent="-185738">
              <a:spcBef>
                <a:spcPts val="0"/>
              </a:spcBef>
              <a:spcAft>
                <a:spcPts val="600"/>
              </a:spcAft>
              <a:buClr>
                <a:srgbClr val="001135"/>
              </a:buClr>
              <a:buFont typeface="Arial" panose="020B0604020202020204" pitchFamily="34" charset="0"/>
              <a:buChar char="•"/>
            </a:pPr>
            <a:r>
              <a:rPr lang="en-US" sz="1600" dirty="0">
                <a:latin typeface="+mn-lt"/>
                <a:ea typeface="Nokia Pure Text" panose="020B0503020202020204" pitchFamily="34" charset="0"/>
                <a:cs typeface="Nokia Pure Headline Light"/>
              </a:rPr>
              <a:t>Examples in speech:</a:t>
            </a:r>
          </a:p>
          <a:p>
            <a:pPr>
              <a:spcAft>
                <a:spcPts val="700"/>
              </a:spcAft>
            </a:pPr>
            <a:r>
              <a:rPr lang="en-US" sz="2000" dirty="0">
                <a:solidFill>
                  <a:schemeClr val="tx1"/>
                </a:solidFill>
              </a:rPr>
              <a:t>Capitalization is ignored while log on NE via SSH, i.e. password is accepted as valid if you use lower case or upper case characters</a:t>
            </a:r>
          </a:p>
          <a:p>
            <a:pPr>
              <a:spcAft>
                <a:spcPts val="700"/>
              </a:spcAft>
            </a:pPr>
            <a:r>
              <a:rPr lang="en-US" sz="2000" dirty="0">
                <a:solidFill>
                  <a:schemeClr val="tx1"/>
                </a:solidFill>
              </a:rPr>
              <a:t>After graceful shut down request, all the ongoing sessions are dropped immediately</a:t>
            </a:r>
            <a:endParaRPr lang="en-IE" sz="2000" dirty="0">
              <a:solidFill>
                <a:schemeClr val="tx1"/>
              </a:solidFill>
            </a:endParaRPr>
          </a:p>
          <a:p>
            <a:pPr>
              <a:spcAft>
                <a:spcPts val="700"/>
              </a:spcAft>
            </a:pPr>
            <a:r>
              <a:rPr lang="en-US" sz="2000" dirty="0">
                <a:solidFill>
                  <a:schemeClr val="tx1"/>
                </a:solidFill>
              </a:rPr>
              <a:t>Logging in with the same administrator (same user and password) at the same time is allowed (security issue)</a:t>
            </a:r>
          </a:p>
          <a:p>
            <a:pPr>
              <a:spcAft>
                <a:spcPts val="700"/>
              </a:spcAft>
            </a:pPr>
            <a:r>
              <a:rPr lang="en-US" sz="2000" dirty="0">
                <a:solidFill>
                  <a:schemeClr val="tx1"/>
                </a:solidFill>
              </a:rPr>
              <a:t>After clicking on System Reload there is no message if it was successful or not</a:t>
            </a:r>
          </a:p>
          <a:p>
            <a:pPr>
              <a:spcAft>
                <a:spcPts val="700"/>
              </a:spcAft>
            </a:pPr>
            <a:r>
              <a:rPr lang="en-US" sz="2000" dirty="0">
                <a:solidFill>
                  <a:schemeClr val="tx1"/>
                </a:solidFill>
              </a:rPr>
              <a:t>Operator could lock out itself from the network element by disable critical interfaces or dispatchers</a:t>
            </a:r>
            <a:endParaRPr lang="en-IE" sz="2000" dirty="0">
              <a:solidFill>
                <a:schemeClr val="tx1"/>
              </a:solidFill>
            </a:endParaRPr>
          </a:p>
          <a:p>
            <a:endParaRPr lang="en-IE" sz="2000" dirty="0">
              <a:solidFill>
                <a:schemeClr val="tx1"/>
              </a:solidFill>
            </a:endParaRPr>
          </a:p>
          <a:p>
            <a:pPr lvl="1"/>
            <a:endParaRPr lang="en-IE" sz="2000" dirty="0">
              <a:solidFill>
                <a:schemeClr val="tx1"/>
              </a:solidFill>
            </a:endParaRPr>
          </a:p>
          <a:p>
            <a:pPr lvl="1"/>
            <a:endParaRPr lang="en-IE" sz="2000" dirty="0">
              <a:solidFill>
                <a:schemeClr val="tx1"/>
              </a:solidFill>
            </a:endParaRPr>
          </a:p>
          <a:p>
            <a:pPr marL="185738" indent="-185738">
              <a:spcBef>
                <a:spcPts val="0"/>
              </a:spcBef>
              <a:spcAft>
                <a:spcPts val="600"/>
              </a:spcAft>
              <a:buClr>
                <a:srgbClr val="001135"/>
              </a:buClr>
              <a:buFont typeface="Arial" panose="020B0604020202020204" pitchFamily="34" charset="0"/>
              <a:buChar char="•"/>
            </a:pPr>
            <a:endParaRPr lang="en-US" sz="1600" dirty="0">
              <a:latin typeface="+mn-lt"/>
              <a:ea typeface="Nokia Pure Text" panose="020B0503020202020204" pitchFamily="34" charset="0"/>
              <a:cs typeface="Nokia Pure Headline Light"/>
            </a:endParaRPr>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19</a:t>
            </a:fld>
            <a:endParaRPr lang="en-US"/>
          </a:p>
        </p:txBody>
      </p:sp>
    </p:spTree>
    <p:extLst>
      <p:ext uri="{BB962C8B-B14F-4D97-AF65-F5344CB8AC3E}">
        <p14:creationId xmlns:p14="http://schemas.microsoft.com/office/powerpoint/2010/main" val="11020268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Nokia Pure Headline Light" panose="020B0304040602060303" pitchFamily="34" charset="0"/>
              </a:rPr>
              <a:t>DevOps is the </a:t>
            </a:r>
            <a:r>
              <a:rPr lang="en-US" b="1" dirty="0">
                <a:latin typeface="Nokia Pure Headline Light" panose="020B0304040602060303" pitchFamily="34" charset="0"/>
              </a:rPr>
              <a:t>combination</a:t>
            </a:r>
            <a:r>
              <a:rPr lang="en-US" dirty="0">
                <a:latin typeface="Nokia Pure Headline Light" panose="020B0304040602060303" pitchFamily="34" charset="0"/>
              </a:rPr>
              <a:t> </a:t>
            </a:r>
            <a:r>
              <a:rPr lang="en-US" b="1" dirty="0">
                <a:latin typeface="Nokia Pure Headline Light" panose="020B0304040602060303" pitchFamily="34" charset="0"/>
              </a:rPr>
              <a:t>of</a:t>
            </a:r>
            <a:r>
              <a:rPr lang="en-US" dirty="0">
                <a:latin typeface="Nokia Pure Headline Light" panose="020B0304040602060303" pitchFamily="34" charset="0"/>
              </a:rPr>
              <a:t> </a:t>
            </a:r>
            <a:r>
              <a:rPr lang="en-US" b="1" dirty="0">
                <a:latin typeface="Nokia Pure Headline Light" panose="020B0304040602060303" pitchFamily="34" charset="0"/>
              </a:rPr>
              <a:t>cultural</a:t>
            </a:r>
            <a:r>
              <a:rPr lang="en-US" dirty="0">
                <a:latin typeface="Nokia Pure Headline Light" panose="020B0304040602060303" pitchFamily="34" charset="0"/>
              </a:rPr>
              <a:t> </a:t>
            </a:r>
            <a:r>
              <a:rPr lang="en-US" b="1" dirty="0">
                <a:latin typeface="Nokia Pure Headline Light" panose="020B0304040602060303" pitchFamily="34" charset="0"/>
              </a:rPr>
              <a:t>philosophies</a:t>
            </a:r>
            <a:r>
              <a:rPr lang="en-US" dirty="0">
                <a:latin typeface="Nokia Pure Headline Light" panose="020B0304040602060303" pitchFamily="34" charset="0"/>
              </a:rPr>
              <a:t>, </a:t>
            </a:r>
            <a:r>
              <a:rPr lang="en-US" b="1" dirty="0">
                <a:latin typeface="Nokia Pure Headline Light" panose="020B0304040602060303" pitchFamily="34" charset="0"/>
              </a:rPr>
              <a:t>practices</a:t>
            </a:r>
            <a:r>
              <a:rPr lang="en-US" dirty="0">
                <a:latin typeface="Nokia Pure Headline Light" panose="020B0304040602060303" pitchFamily="34" charset="0"/>
              </a:rPr>
              <a:t>, </a:t>
            </a:r>
            <a:r>
              <a:rPr lang="en-US" b="1" dirty="0">
                <a:latin typeface="Nokia Pure Headline Light" panose="020B0304040602060303" pitchFamily="34" charset="0"/>
              </a:rPr>
              <a:t>and</a:t>
            </a:r>
            <a:r>
              <a:rPr lang="en-US" dirty="0">
                <a:latin typeface="Nokia Pure Headline Light" panose="020B0304040602060303" pitchFamily="34" charset="0"/>
              </a:rPr>
              <a:t> </a:t>
            </a:r>
            <a:r>
              <a:rPr lang="en-US" b="1" dirty="0">
                <a:latin typeface="Nokia Pure Headline Light" panose="020B0304040602060303" pitchFamily="34" charset="0"/>
              </a:rPr>
              <a:t>tools</a:t>
            </a:r>
            <a:r>
              <a:rPr lang="en-US" dirty="0">
                <a:latin typeface="Nokia Pure Headline Light" panose="020B0304040602060303" pitchFamily="34" charset="0"/>
              </a:rPr>
              <a:t> that increases an organization's ability to </a:t>
            </a:r>
            <a:r>
              <a:rPr lang="en-US" b="1" dirty="0">
                <a:latin typeface="Nokia Pure Headline Light" panose="020B0304040602060303" pitchFamily="34" charset="0"/>
              </a:rPr>
              <a:t>deliver</a:t>
            </a:r>
            <a:r>
              <a:rPr lang="en-US" dirty="0">
                <a:latin typeface="Nokia Pure Headline Light" panose="020B0304040602060303" pitchFamily="34" charset="0"/>
              </a:rPr>
              <a:t> </a:t>
            </a:r>
            <a:r>
              <a:rPr lang="hu-HU" b="1" dirty="0" err="1">
                <a:latin typeface="Nokia Pure Headline Light" panose="020B0304040602060303" pitchFamily="34" charset="0"/>
              </a:rPr>
              <a:t>value</a:t>
            </a:r>
            <a:r>
              <a:rPr lang="en-US" dirty="0">
                <a:latin typeface="Nokia Pure Headline Light" panose="020B0304040602060303" pitchFamily="34" charset="0"/>
              </a:rPr>
              <a:t> </a:t>
            </a:r>
            <a:r>
              <a:rPr lang="en-US" b="1" dirty="0">
                <a:latin typeface="Nokia Pure Headline Light" panose="020B0304040602060303" pitchFamily="34" charset="0"/>
              </a:rPr>
              <a:t>at</a:t>
            </a:r>
            <a:r>
              <a:rPr lang="en-US" dirty="0">
                <a:latin typeface="Nokia Pure Headline Light" panose="020B0304040602060303" pitchFamily="34" charset="0"/>
              </a:rPr>
              <a:t> </a:t>
            </a:r>
            <a:r>
              <a:rPr lang="en-US" b="1" dirty="0">
                <a:latin typeface="Nokia Pure Headline Light" panose="020B0304040602060303" pitchFamily="34" charset="0"/>
              </a:rPr>
              <a:t>high</a:t>
            </a:r>
            <a:r>
              <a:rPr lang="en-US" dirty="0">
                <a:latin typeface="Nokia Pure Headline Light" panose="020B0304040602060303" pitchFamily="34" charset="0"/>
              </a:rPr>
              <a:t> </a:t>
            </a:r>
            <a:r>
              <a:rPr lang="en-US" b="1" dirty="0">
                <a:latin typeface="Nokia Pure Headline Light" panose="020B0304040602060303" pitchFamily="34" charset="0"/>
              </a:rPr>
              <a:t>velocity</a:t>
            </a:r>
            <a:r>
              <a:rPr lang="en-US" dirty="0">
                <a:latin typeface="Nokia Pure Headline Light" panose="020B0304040602060303" pitchFamily="34" charset="0"/>
              </a:rPr>
              <a:t>: evolving and improving products at a faster pace </a:t>
            </a:r>
            <a:r>
              <a:rPr lang="hu-HU" dirty="0">
                <a:latin typeface="Nokia Pure Headline Light" panose="020B0304040602060303" pitchFamily="34" charset="0"/>
              </a:rPr>
              <a:t>DevOps </a:t>
            </a:r>
            <a:r>
              <a:rPr lang="hu-HU" dirty="0" err="1">
                <a:latin typeface="Nokia Pure Headline Light" panose="020B0304040602060303" pitchFamily="34" charset="0"/>
              </a:rPr>
              <a:t>methodology</a:t>
            </a:r>
            <a:r>
              <a:rPr lang="hu-HU" dirty="0">
                <a:latin typeface="Nokia Pure Headline Light" panose="020B0304040602060303" pitchFamily="34" charset="0"/>
              </a:rPr>
              <a:t> </a:t>
            </a:r>
            <a:r>
              <a:rPr lang="hu-HU" dirty="0" err="1">
                <a:latin typeface="Nokia Pure Headline Light" panose="020B0304040602060303" pitchFamily="34" charset="0"/>
              </a:rPr>
              <a:t>utilizes</a:t>
            </a:r>
            <a:r>
              <a:rPr lang="hu-HU" dirty="0">
                <a:latin typeface="Nokia Pure Headline Light" panose="020B0304040602060303" pitchFamily="34" charset="0"/>
              </a:rPr>
              <a:t> </a:t>
            </a:r>
            <a:r>
              <a:rPr lang="hu-HU" dirty="0" err="1">
                <a:latin typeface="Nokia Pure Headline Light" panose="020B0304040602060303" pitchFamily="34" charset="0"/>
              </a:rPr>
              <a:t>elements</a:t>
            </a:r>
            <a:r>
              <a:rPr lang="hu-HU" dirty="0">
                <a:latin typeface="Nokia Pure Headline Light" panose="020B0304040602060303" pitchFamily="34" charset="0"/>
              </a:rPr>
              <a:t> of </a:t>
            </a:r>
            <a:r>
              <a:rPr lang="hu-HU" dirty="0" err="1">
                <a:latin typeface="Nokia Pure Headline Light" panose="020B0304040602060303" pitchFamily="34" charset="0"/>
              </a:rPr>
              <a:t>Kaizen</a:t>
            </a:r>
            <a:r>
              <a:rPr lang="hu-HU" dirty="0">
                <a:latin typeface="Nokia Pure Headline Light" panose="020B0304040602060303" pitchFamily="34" charset="0"/>
              </a:rPr>
              <a:t>, Lean and </a:t>
            </a:r>
            <a:r>
              <a:rPr lang="hu-HU" dirty="0" err="1">
                <a:latin typeface="Nokia Pure Headline Light" panose="020B0304040602060303" pitchFamily="34" charset="0"/>
              </a:rPr>
              <a:t>Agile</a:t>
            </a:r>
            <a:r>
              <a:rPr lang="hu-HU" dirty="0">
                <a:latin typeface="Nokia Pure Headline Light" panose="020B0304040602060303" pitchFamily="34" charset="0"/>
              </a:rPr>
              <a:t>.</a:t>
            </a:r>
            <a:endParaRPr lang="en-US" dirty="0">
              <a:latin typeface="Nokia Pure Headline Light" panose="020B0304040602060303" pitchFamily="34" charset="0"/>
            </a:endParaRPr>
          </a:p>
          <a:p>
            <a:endParaRPr lang="en-US" dirty="0"/>
          </a:p>
          <a:p>
            <a:pPr algn="just"/>
            <a:r>
              <a:rPr lang="en-US" dirty="0">
                <a:latin typeface="Nokia Pure Headline Light" panose="020B0304040602060303" pitchFamily="34" charset="0"/>
              </a:rPr>
              <a:t>DevOps is an ethos centered around </a:t>
            </a:r>
            <a:r>
              <a:rPr lang="en-US" b="1" dirty="0">
                <a:latin typeface="Nokia Pure Headline Light" panose="020B0304040602060303" pitchFamily="34" charset="0"/>
              </a:rPr>
              <a:t>integration</a:t>
            </a:r>
            <a:r>
              <a:rPr lang="en-US" dirty="0">
                <a:latin typeface="Nokia Pure Headline Light" panose="020B0304040602060303" pitchFamily="34" charset="0"/>
              </a:rPr>
              <a:t> and </a:t>
            </a:r>
            <a:r>
              <a:rPr lang="en-US" b="1" dirty="0">
                <a:latin typeface="Nokia Pure Headline Light" panose="020B0304040602060303" pitchFamily="34" charset="0"/>
              </a:rPr>
              <a:t>communication</a:t>
            </a:r>
            <a:r>
              <a:rPr lang="en-US" dirty="0">
                <a:latin typeface="Nokia Pure Headline Light" panose="020B0304040602060303" pitchFamily="34" charset="0"/>
              </a:rPr>
              <a:t> between software developers and </a:t>
            </a:r>
            <a:r>
              <a:rPr lang="hu-HU" dirty="0" err="1">
                <a:latin typeface="Nokia Pure Headline Light" panose="020B0304040602060303" pitchFamily="34" charset="0"/>
              </a:rPr>
              <a:t>operations</a:t>
            </a:r>
            <a:r>
              <a:rPr lang="en-US" dirty="0">
                <a:latin typeface="Nokia Pure Headline Light" panose="020B0304040602060303" pitchFamily="34" charset="0"/>
              </a:rPr>
              <a:t> professionals who manage production operations.</a:t>
            </a:r>
          </a:p>
          <a:p>
            <a:pPr algn="just"/>
            <a:endParaRPr lang="hu-HU" dirty="0">
              <a:latin typeface="Nokia Pure Headline Light" panose="020B03040406020603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hu-HU" dirty="0" err="1"/>
              <a:t>Compared</a:t>
            </a:r>
            <a:r>
              <a:rPr lang="hu-HU" dirty="0"/>
              <a:t> </a:t>
            </a:r>
            <a:r>
              <a:rPr lang="hu-HU" dirty="0" err="1"/>
              <a:t>to</a:t>
            </a:r>
            <a:r>
              <a:rPr lang="hu-HU" dirty="0"/>
              <a:t> </a:t>
            </a:r>
            <a:r>
              <a:rPr lang="hu-HU" dirty="0" err="1"/>
              <a:t>the</a:t>
            </a:r>
            <a:r>
              <a:rPr lang="hu-HU" dirty="0"/>
              <a:t> </a:t>
            </a:r>
            <a:r>
              <a:rPr lang="hu-HU" dirty="0" err="1"/>
              <a:t>traditional</a:t>
            </a:r>
            <a:r>
              <a:rPr lang="hu-HU" dirty="0"/>
              <a:t> </a:t>
            </a:r>
            <a:r>
              <a:rPr lang="hu-HU" dirty="0" err="1"/>
              <a:t>Gantt</a:t>
            </a:r>
            <a:r>
              <a:rPr lang="hu-HU" dirty="0"/>
              <a:t>, </a:t>
            </a:r>
            <a:r>
              <a:rPr lang="hu-HU" dirty="0" err="1"/>
              <a:t>this</a:t>
            </a:r>
            <a:r>
              <a:rPr lang="hu-HU" dirty="0"/>
              <a:t> is </a:t>
            </a:r>
            <a:r>
              <a:rPr lang="hu-HU" dirty="0" err="1"/>
              <a:t>how</a:t>
            </a:r>
            <a:r>
              <a:rPr lang="hu-HU" dirty="0"/>
              <a:t> DevOps </a:t>
            </a:r>
            <a:r>
              <a:rPr lang="hu-HU" dirty="0" err="1"/>
              <a:t>can</a:t>
            </a:r>
            <a:r>
              <a:rPr lang="hu-HU" dirty="0"/>
              <a:t> be </a:t>
            </a:r>
            <a:r>
              <a:rPr lang="hu-HU" dirty="0" err="1"/>
              <a:t>represented</a:t>
            </a:r>
            <a:r>
              <a:rPr lang="hu-HU" dirty="0"/>
              <a:t>, </a:t>
            </a:r>
            <a:r>
              <a:rPr lang="hu-HU" dirty="0" err="1"/>
              <a:t>as</a:t>
            </a:r>
            <a:r>
              <a:rPr lang="hu-HU" dirty="0"/>
              <a:t> an </a:t>
            </a:r>
            <a:r>
              <a:rPr lang="hu-HU" dirty="0" err="1"/>
              <a:t>infite</a:t>
            </a:r>
            <a:r>
              <a:rPr lang="hu-HU" dirty="0"/>
              <a:t> </a:t>
            </a:r>
            <a:r>
              <a:rPr lang="hu-HU" dirty="0" err="1"/>
              <a:t>loop</a:t>
            </a:r>
            <a:r>
              <a:rPr lang="hu-HU" dirty="0"/>
              <a:t> of </a:t>
            </a:r>
            <a:r>
              <a:rPr lang="hu-HU" dirty="0" err="1"/>
              <a:t>planning</a:t>
            </a:r>
            <a:r>
              <a:rPr lang="hu-HU" dirty="0"/>
              <a:t>, building, </a:t>
            </a:r>
            <a:r>
              <a:rPr lang="hu-HU" dirty="0" err="1"/>
              <a:t>delivering</a:t>
            </a:r>
            <a:r>
              <a:rPr lang="hu-HU" dirty="0"/>
              <a:t> and </a:t>
            </a:r>
            <a:r>
              <a:rPr lang="hu-HU" dirty="0" err="1"/>
              <a:t>operating</a:t>
            </a:r>
            <a:r>
              <a:rPr lang="hu-HU" dirty="0"/>
              <a:t> of SW </a:t>
            </a:r>
            <a:r>
              <a:rPr lang="hu-HU" dirty="0" err="1"/>
              <a:t>applications</a:t>
            </a:r>
            <a:r>
              <a:rPr lang="hu-HU" dirty="0"/>
              <a:t>, and most </a:t>
            </a:r>
            <a:r>
              <a:rPr lang="hu-HU" dirty="0" err="1"/>
              <a:t>importantly</a:t>
            </a:r>
            <a:r>
              <a:rPr lang="hu-HU" dirty="0"/>
              <a:t> </a:t>
            </a:r>
            <a:r>
              <a:rPr lang="hu-HU" dirty="0" err="1"/>
              <a:t>this</a:t>
            </a:r>
            <a:r>
              <a:rPr lang="hu-HU" dirty="0"/>
              <a:t> is </a:t>
            </a:r>
            <a:r>
              <a:rPr lang="hu-HU" dirty="0" err="1"/>
              <a:t>surrounded</a:t>
            </a:r>
            <a:r>
              <a:rPr lang="hu-HU" dirty="0"/>
              <a:t> </a:t>
            </a:r>
            <a:r>
              <a:rPr lang="hu-HU" dirty="0" err="1"/>
              <a:t>by</a:t>
            </a:r>
            <a:r>
              <a:rPr lang="hu-HU" dirty="0"/>
              <a:t> </a:t>
            </a:r>
            <a:r>
              <a:rPr lang="hu-HU" dirty="0" err="1"/>
              <a:t>continuous</a:t>
            </a:r>
            <a:r>
              <a:rPr lang="hu-HU" dirty="0"/>
              <a:t> </a:t>
            </a:r>
            <a:r>
              <a:rPr lang="hu-HU" dirty="0" err="1"/>
              <a:t>feedback</a:t>
            </a:r>
            <a:r>
              <a:rPr lang="hu-HU" dirty="0"/>
              <a:t>, </a:t>
            </a:r>
            <a:r>
              <a:rPr lang="hu-HU" dirty="0" err="1"/>
              <a:t>providing</a:t>
            </a:r>
            <a:r>
              <a:rPr lang="hu-HU" dirty="0"/>
              <a:t> </a:t>
            </a:r>
            <a:r>
              <a:rPr lang="hu-HU" dirty="0" err="1"/>
              <a:t>the</a:t>
            </a:r>
            <a:r>
              <a:rPr lang="hu-HU" dirty="0"/>
              <a:t> </a:t>
            </a:r>
            <a:r>
              <a:rPr lang="hu-HU" dirty="0" err="1"/>
              <a:t>needed</a:t>
            </a:r>
            <a:r>
              <a:rPr lang="hu-HU" dirty="0"/>
              <a:t> </a:t>
            </a:r>
            <a:r>
              <a:rPr lang="hu-HU" dirty="0" err="1"/>
              <a:t>information</a:t>
            </a:r>
            <a:r>
              <a:rPr lang="hu-HU" dirty="0"/>
              <a:t> </a:t>
            </a:r>
            <a:r>
              <a:rPr lang="hu-HU" dirty="0" err="1"/>
              <a:t>to</a:t>
            </a:r>
            <a:r>
              <a:rPr lang="hu-HU" dirty="0"/>
              <a:t> </a:t>
            </a:r>
            <a:r>
              <a:rPr lang="hu-HU" dirty="0" err="1"/>
              <a:t>the</a:t>
            </a:r>
            <a:r>
              <a:rPr lang="hu-HU" dirty="0"/>
              <a:t> </a:t>
            </a:r>
            <a:r>
              <a:rPr lang="hu-HU" dirty="0" err="1"/>
              <a:t>Plan-Do-Check-Act</a:t>
            </a:r>
            <a:r>
              <a:rPr lang="hu-HU" dirty="0"/>
              <a:t> </a:t>
            </a:r>
            <a:r>
              <a:rPr lang="hu-HU" dirty="0" err="1"/>
              <a:t>cycle</a:t>
            </a:r>
            <a:r>
              <a:rPr lang="hu-HU" dirty="0"/>
              <a:t>.</a:t>
            </a:r>
            <a:endParaRPr lang="en-US" dirty="0"/>
          </a:p>
          <a:p>
            <a:endParaRPr lang="en-US" dirty="0">
              <a:latin typeface="Nokia Pure Headline Light" panose="020B0304040602060303" pitchFamily="34" charset="0"/>
            </a:endParaRP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C2616F-011D-47B3-A2C1-4E16F11993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34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oratory Testing can be also used in DevOps, even it is stating to Automate everything. While Automated Tests serve as a Quality Gate, exploratory testing is serving learning as well. It can give feedback on defect clusters, or simple give the opportunity to learn about how the Product behaves.</a:t>
            </a:r>
          </a:p>
          <a:p>
            <a:r>
              <a:rPr lang="en-US" dirty="0" err="1"/>
              <a:t>BugHunting</a:t>
            </a:r>
            <a:r>
              <a:rPr lang="en-US" dirty="0"/>
              <a:t> session can also be organized at any point of time, serving as a good learning possibility for the cross-functional team.</a:t>
            </a:r>
          </a:p>
          <a:p>
            <a:endParaRPr lang="en-US" dirty="0"/>
          </a:p>
          <a:p>
            <a:r>
              <a:rPr lang="en-US" dirty="0"/>
              <a:t>As a special occasion, we have also organized Robustness </a:t>
            </a:r>
            <a:r>
              <a:rPr lang="en-US" dirty="0" err="1"/>
              <a:t>Bughunting</a:t>
            </a:r>
            <a:r>
              <a:rPr lang="en-US" dirty="0"/>
              <a:t> events together with out customers in mixed teams, </a:t>
            </a:r>
            <a:r>
              <a:rPr lang="en-US" dirty="0" err="1"/>
              <a:t>happeining</a:t>
            </a:r>
            <a:r>
              <a:rPr lang="en-US" dirty="0"/>
              <a:t> in their Laboratory (Staging environment). This transparency was very much appreciated by the customer, not to hide any faults, while it gave us a good opportunity to learn the priorities and high risk topics for our customers. In a </a:t>
            </a:r>
            <a:r>
              <a:rPr lang="en-US" dirty="0" err="1"/>
              <a:t>multitousand</a:t>
            </a:r>
            <a:r>
              <a:rPr lang="en-US" dirty="0"/>
              <a:t> development organization direct information might be hard to gather. Based on feedback the Automated Tests can be extended and finetuned, and even new features/functionality can be planned.</a:t>
            </a:r>
            <a:endParaRPr lang="fi-FI" dirty="0"/>
          </a:p>
        </p:txBody>
      </p:sp>
      <p:sp>
        <p:nvSpPr>
          <p:cNvPr id="4" name="Slide Number Placeholder 3"/>
          <p:cNvSpPr>
            <a:spLocks noGrp="1"/>
          </p:cNvSpPr>
          <p:nvPr>
            <p:ph type="sldNum" sz="quarter" idx="5"/>
          </p:nvPr>
        </p:nvSpPr>
        <p:spPr/>
        <p:txBody>
          <a:bodyPr/>
          <a:lstStyle/>
          <a:p>
            <a:pPr>
              <a:defRPr/>
            </a:pPr>
            <a:fld id="{26C2616F-011D-47B3-A2C1-4E16F11993E6}" type="slidenum">
              <a:rPr lang="en-US" smtClean="0"/>
              <a:pPr>
                <a:defRPr/>
              </a:pPr>
              <a:t>23</a:t>
            </a:fld>
            <a:endParaRPr lang="en-US"/>
          </a:p>
        </p:txBody>
      </p:sp>
    </p:spTree>
    <p:extLst>
      <p:ext uri="{BB962C8B-B14F-4D97-AF65-F5344CB8AC3E}">
        <p14:creationId xmlns:p14="http://schemas.microsoft.com/office/powerpoint/2010/main" val="986584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ts val="0"/>
              </a:spcBef>
              <a:spcAft>
                <a:spcPts val="600"/>
              </a:spcAft>
              <a:buClr>
                <a:srgbClr val="001135"/>
              </a:buClr>
              <a:buSzTx/>
              <a:buFont typeface="Arial" panose="020B0604020202020204" pitchFamily="34" charset="0"/>
              <a:buNone/>
              <a:tabLst/>
              <a:defRPr/>
            </a:pPr>
            <a:endParaRPr lang="en-US" sz="1600" dirty="0">
              <a:latin typeface="+mn-lt"/>
              <a:ea typeface="Nokia Pure Text" panose="020B0503020202020204" pitchFamily="34" charset="0"/>
              <a:cs typeface="Nokia Pure Headline Light"/>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C2616F-011D-47B3-A2C1-4E16F11993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793172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ts val="0"/>
              </a:spcBef>
              <a:spcAft>
                <a:spcPts val="600"/>
              </a:spcAft>
              <a:buClr>
                <a:srgbClr val="001135"/>
              </a:buClr>
              <a:buSzTx/>
              <a:buFont typeface="Arial" panose="020B0604020202020204" pitchFamily="34" charset="0"/>
              <a:buNone/>
              <a:tabLst/>
              <a:defRPr/>
            </a:pPr>
            <a:endParaRPr lang="en-US" sz="1600" dirty="0">
              <a:latin typeface="+mn-lt"/>
              <a:ea typeface="Nokia Pure Text" panose="020B0503020202020204" pitchFamily="34" charset="0"/>
              <a:cs typeface="Nokia Pure Headline Light"/>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C2616F-011D-47B3-A2C1-4E16F11993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173925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01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01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ea typeface="ヒラギノ角ゴ Pro W3"/>
              <a:cs typeface="ヒラギノ角ゴ Pro W3"/>
            </a:endParaRPr>
          </a:p>
        </p:txBody>
      </p:sp>
      <p:sp>
        <p:nvSpPr>
          <p:cNvPr id="3901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fld id="{3F1C2481-075B-4B12-B146-8FDD33793A20}" type="slidenum">
              <a:rPr lang="en-GB" altLang="en-US" smtClean="0">
                <a:solidFill>
                  <a:prstClr val="black"/>
                </a:solidFill>
                <a:latin typeface="Calibri" panose="020F0502020204030204" pitchFamily="34" charset="0"/>
              </a:rPr>
              <a:pPr/>
              <a:t>27</a:t>
            </a:fld>
            <a:endParaRPr lang="en-GB" altLang="en-US" dirty="0">
              <a:solidFill>
                <a:prstClr val="black"/>
              </a:solidFill>
              <a:latin typeface="Calibri" panose="020F0502020204030204" pitchFamily="34" charset="0"/>
            </a:endParaRPr>
          </a:p>
        </p:txBody>
      </p:sp>
    </p:spTree>
    <p:extLst>
      <p:ext uri="{BB962C8B-B14F-4D97-AF65-F5344CB8AC3E}">
        <p14:creationId xmlns:p14="http://schemas.microsoft.com/office/powerpoint/2010/main" val="31657127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pPr marL="0" marR="0" lvl="0" indent="0" algn="l" defTabSz="457200" rtl="0"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827863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a:solidFill>
                  <a:schemeClr val="tx1"/>
                </a:solidFill>
                <a:latin typeface="+mn-lt"/>
                <a:ea typeface="ヒラギノ角ゴ Pro W3" charset="0"/>
                <a:cs typeface="ヒラギノ角ゴ Pro W3" charset="0"/>
              </a:rPr>
              <a:t>according to the description:</a:t>
            </a:r>
            <a:br>
              <a:rPr lang="en-US" dirty="0"/>
            </a:br>
            <a:r>
              <a:rPr lang="en-US" sz="1200" b="1" i="0" kern="1200" dirty="0">
                <a:solidFill>
                  <a:schemeClr val="tx1"/>
                </a:solidFill>
                <a:latin typeface="+mn-lt"/>
                <a:ea typeface="ヒラギノ角ゴ Pro W3" charset="0"/>
                <a:cs typeface="ヒラギノ角ゴ Pro W3" charset="0"/>
              </a:rPr>
              <a:t>- the presentation will not describe in detail the differences between experience-based, exploratory and bug hunting testing </a:t>
            </a:r>
            <a:r>
              <a:rPr lang="en-US" sz="1200" b="1" i="0" kern="1200" dirty="0">
                <a:solidFill>
                  <a:schemeClr val="tx1"/>
                </a:solidFill>
                <a:latin typeface="+mn-lt"/>
                <a:ea typeface="ヒラギノ角ゴ Pro W3" charset="0"/>
                <a:cs typeface="ヒラギノ角ゴ Pro W3" charset="0"/>
                <a:sym typeface="Wingdings" pitchFamily="2" charset="2"/>
              </a:rPr>
              <a:t> Yes it DOES</a:t>
            </a:r>
            <a:br>
              <a:rPr lang="en-US" dirty="0"/>
            </a:br>
            <a:r>
              <a:rPr lang="en-US" sz="1200" b="0" i="0" kern="1200" dirty="0">
                <a:solidFill>
                  <a:schemeClr val="tx1"/>
                </a:solidFill>
                <a:latin typeface="+mn-lt"/>
                <a:ea typeface="ヒラギノ角ゴ Pro W3" charset="0"/>
                <a:cs typeface="ヒラギノ角ゴ Pro W3" charset="0"/>
              </a:rPr>
              <a:t>- it will not provide metrics to show how the new technique was 'better'</a:t>
            </a:r>
            <a:br>
              <a:rPr lang="en-US" dirty="0"/>
            </a:br>
            <a:r>
              <a:rPr lang="en-US" sz="1200" b="0" i="0" kern="1200" dirty="0">
                <a:solidFill>
                  <a:schemeClr val="tx1"/>
                </a:solidFill>
                <a:latin typeface="+mn-lt"/>
                <a:ea typeface="ヒラギノ角ゴ Pro W3" charset="0"/>
                <a:cs typeface="ヒラギノ角ゴ Pro W3" charset="0"/>
              </a:rPr>
              <a:t>- has this use case general application?</a:t>
            </a:r>
            <a:br>
              <a:rPr lang="en-US" dirty="0"/>
            </a:br>
            <a:r>
              <a:rPr lang="en-US" sz="1200" b="1" i="0" kern="1200" dirty="0">
                <a:solidFill>
                  <a:schemeClr val="tx1"/>
                </a:solidFill>
                <a:latin typeface="+mn-lt"/>
                <a:ea typeface="ヒラギノ角ゴ Pro W3" charset="0"/>
                <a:cs typeface="ヒラギノ角ゴ Pro W3" charset="0"/>
              </a:rPr>
              <a:t>- what other test methods were used? </a:t>
            </a:r>
            <a:r>
              <a:rPr lang="en-US" sz="1200" b="1" i="0" kern="1200" dirty="0">
                <a:solidFill>
                  <a:schemeClr val="tx1"/>
                </a:solidFill>
                <a:latin typeface="+mn-lt"/>
                <a:ea typeface="ヒラギノ角ゴ Pro W3" charset="0"/>
                <a:cs typeface="ヒラギノ角ゴ Pro W3" charset="0"/>
                <a:sym typeface="Wingdings" pitchFamily="2" charset="2"/>
              </a:rPr>
              <a:t> All BOLD</a:t>
            </a:r>
            <a:br>
              <a:rPr lang="en-US" dirty="0"/>
            </a:br>
            <a:r>
              <a:rPr lang="en-US" sz="1200" b="0" i="0" kern="1200" dirty="0">
                <a:solidFill>
                  <a:schemeClr val="tx1"/>
                </a:solidFill>
                <a:latin typeface="+mn-lt"/>
                <a:ea typeface="ヒラギノ角ゴ Pro W3" charset="0"/>
                <a:cs typeface="ヒラギノ角ゴ Pro W3" charset="0"/>
              </a:rPr>
              <a:t>- how is this method superior to non-exploratory? </a:t>
            </a:r>
            <a:r>
              <a:rPr lang="en-US" sz="1200" b="0" i="0" kern="1200" dirty="0">
                <a:solidFill>
                  <a:schemeClr val="tx1"/>
                </a:solidFill>
                <a:latin typeface="+mn-lt"/>
                <a:ea typeface="ヒラギノ角ゴ Pro W3" charset="0"/>
                <a:cs typeface="ヒラギノ角ゴ Pro W3" charset="0"/>
                <a:sym typeface="Wingdings" pitchFamily="2" charset="2"/>
              </a:rPr>
              <a:t> </a:t>
            </a:r>
            <a:r>
              <a:rPr lang="en-US" sz="1200" b="1" i="0" kern="1200" dirty="0">
                <a:solidFill>
                  <a:schemeClr val="tx1"/>
                </a:solidFill>
                <a:latin typeface="+mn-lt"/>
                <a:ea typeface="ヒラギノ角ゴ Pro W3" charset="0"/>
                <a:cs typeface="ヒラギノ角ゴ Pro W3" charset="0"/>
                <a:sym typeface="Wingdings" pitchFamily="2" charset="2"/>
              </a:rPr>
              <a:t>Non Superior, just Complementary</a:t>
            </a:r>
            <a:br>
              <a:rPr lang="en-US" dirty="0"/>
            </a:br>
            <a:r>
              <a:rPr lang="en-US" sz="1200" b="0" i="0" kern="1200" dirty="0">
                <a:solidFill>
                  <a:schemeClr val="tx1"/>
                </a:solidFill>
                <a:latin typeface="+mn-lt"/>
                <a:ea typeface="ヒラギノ角ゴ Pro W3" charset="0"/>
                <a:cs typeface="ヒラギノ角ゴ Pro W3" charset="0"/>
              </a:rPr>
              <a:t>- what were the preconditions - for example, the requirements?</a:t>
            </a:r>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6</a:t>
            </a:fld>
            <a:endParaRPr lang="en-US"/>
          </a:p>
        </p:txBody>
      </p:sp>
    </p:spTree>
    <p:extLst>
      <p:ext uri="{BB962C8B-B14F-4D97-AF65-F5344CB8AC3E}">
        <p14:creationId xmlns:p14="http://schemas.microsoft.com/office/powerpoint/2010/main" val="34252696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8</a:t>
            </a:fld>
            <a:endParaRPr lang="en-US"/>
          </a:p>
        </p:txBody>
      </p:sp>
    </p:spTree>
    <p:extLst>
      <p:ext uri="{BB962C8B-B14F-4D97-AF65-F5344CB8AC3E}">
        <p14:creationId xmlns:p14="http://schemas.microsoft.com/office/powerpoint/2010/main" val="273753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sz="1200" dirty="0" err="1"/>
              <a:t>Egyszer</a:t>
            </a:r>
            <a:r>
              <a:rPr lang="en-US" sz="1200" dirty="0"/>
              <a:t> volt, </a:t>
            </a:r>
            <a:r>
              <a:rPr lang="en-US" sz="1200" dirty="0" err="1"/>
              <a:t>hol</a:t>
            </a:r>
            <a:r>
              <a:rPr lang="en-US" sz="1200" dirty="0"/>
              <a:t> </a:t>
            </a:r>
            <a:r>
              <a:rPr lang="en-US" sz="1200" dirty="0" err="1"/>
              <a:t>nem</a:t>
            </a:r>
            <a:r>
              <a:rPr lang="en-US" sz="1200" dirty="0"/>
              <a:t> volt, volt </a:t>
            </a:r>
            <a:r>
              <a:rPr lang="en-US" sz="1200" dirty="0" err="1"/>
              <a:t>egyszer</a:t>
            </a:r>
            <a:r>
              <a:rPr lang="en-US" sz="1200" dirty="0"/>
              <a:t> </a:t>
            </a:r>
            <a:r>
              <a:rPr lang="en-US" sz="1200" dirty="0" err="1"/>
              <a:t>egy</a:t>
            </a:r>
            <a:r>
              <a:rPr lang="en-US" sz="1200" dirty="0"/>
              <a:t> </a:t>
            </a:r>
            <a:r>
              <a:rPr lang="en-US" sz="1200" dirty="0" err="1"/>
              <a:t>villam</a:t>
            </a:r>
            <a:r>
              <a:rPr lang="en-US" sz="1200" dirty="0"/>
              <a:t>, </a:t>
            </a:r>
            <a:r>
              <a:rPr lang="en-US" sz="1200" dirty="0" err="1"/>
              <a:t>akibe</a:t>
            </a:r>
            <a:r>
              <a:rPr lang="en-US" sz="1200" dirty="0"/>
              <a:t> </a:t>
            </a:r>
            <a:r>
              <a:rPr lang="en-US" sz="1200" dirty="0" err="1"/>
              <a:t>belekoltozott</a:t>
            </a:r>
            <a:r>
              <a:rPr lang="en-US" sz="1200" dirty="0"/>
              <a:t> </a:t>
            </a:r>
            <a:r>
              <a:rPr lang="en-US" sz="1200" dirty="0" err="1"/>
              <a:t>egy</a:t>
            </a:r>
            <a:r>
              <a:rPr lang="en-US" sz="1200" dirty="0"/>
              <a:t> </a:t>
            </a:r>
            <a:r>
              <a:rPr lang="en-US" sz="1200" dirty="0" err="1"/>
              <a:t>hal</a:t>
            </a:r>
            <a:r>
              <a:rPr lang="en-US" sz="1200" dirty="0"/>
              <a:t>. </a:t>
            </a:r>
            <a:r>
              <a:rPr lang="en-US" sz="1200" dirty="0" err="1"/>
              <a:t>Megkerdezte</a:t>
            </a:r>
            <a:r>
              <a:rPr lang="en-US" sz="1200" dirty="0"/>
              <a:t> a </a:t>
            </a:r>
            <a:r>
              <a:rPr lang="en-US" sz="1200" dirty="0" err="1"/>
              <a:t>hal</a:t>
            </a:r>
            <a:r>
              <a:rPr lang="en-US" sz="1200" dirty="0"/>
              <a:t>  a </a:t>
            </a:r>
            <a:r>
              <a:rPr lang="en-US" sz="1200" dirty="0" err="1"/>
              <a:t>villamot</a:t>
            </a:r>
            <a:r>
              <a:rPr lang="en-US" sz="1200" dirty="0"/>
              <a:t>: </a:t>
            </a:r>
            <a:r>
              <a:rPr lang="en-US" sz="1200" dirty="0" err="1"/>
              <a:t>Miert</a:t>
            </a:r>
            <a:r>
              <a:rPr lang="en-US" sz="1200" dirty="0"/>
              <a:t> van </a:t>
            </a:r>
            <a:r>
              <a:rPr lang="en-US" sz="1200" dirty="0" err="1"/>
              <a:t>mogotted</a:t>
            </a:r>
            <a:r>
              <a:rPr lang="en-US" sz="1200" dirty="0"/>
              <a:t> </a:t>
            </a:r>
            <a:r>
              <a:rPr lang="en-US" sz="1200" dirty="0" err="1"/>
              <a:t>egy</a:t>
            </a:r>
            <a:r>
              <a:rPr lang="en-US" sz="1200" dirty="0"/>
              <a:t> </a:t>
            </a:r>
            <a:r>
              <a:rPr lang="en-US" sz="1200" dirty="0" err="1"/>
              <a:t>piramis</a:t>
            </a:r>
            <a:r>
              <a:rPr lang="en-US" sz="1200" dirty="0"/>
              <a:t>? </a:t>
            </a:r>
            <a:r>
              <a:rPr lang="en-US" sz="1200" dirty="0" err="1"/>
              <a:t>Miert</a:t>
            </a:r>
            <a:r>
              <a:rPr lang="en-US" sz="1200" dirty="0"/>
              <a:t> </a:t>
            </a:r>
            <a:r>
              <a:rPr lang="en-US" sz="1200" dirty="0" err="1"/>
              <a:t>csapsz</a:t>
            </a:r>
            <a:r>
              <a:rPr lang="en-US" sz="1200" dirty="0"/>
              <a:t> </a:t>
            </a:r>
            <a:r>
              <a:rPr lang="en-US" sz="1200" dirty="0" err="1"/>
              <a:t>bele</a:t>
            </a:r>
            <a:r>
              <a:rPr lang="en-US" sz="1200" dirty="0"/>
              <a:t> a </a:t>
            </a:r>
            <a:r>
              <a:rPr lang="en-US" sz="1200" dirty="0" err="1"/>
              <a:t>piramisba</a:t>
            </a:r>
            <a:r>
              <a:rPr lang="en-US" sz="1200" dirty="0"/>
              <a:t>? </a:t>
            </a:r>
            <a:r>
              <a:rPr lang="en-US" sz="1200" dirty="0" err="1"/>
              <a:t>Azt</a:t>
            </a:r>
            <a:r>
              <a:rPr lang="en-US" sz="1200" dirty="0"/>
              <a:t> </a:t>
            </a:r>
            <a:r>
              <a:rPr lang="en-US" sz="1200" dirty="0" err="1"/>
              <a:t>mondta</a:t>
            </a:r>
            <a:r>
              <a:rPr lang="en-US" sz="1200" dirty="0"/>
              <a:t>, </a:t>
            </a:r>
            <a:r>
              <a:rPr lang="en-US" sz="1200" dirty="0" err="1"/>
              <a:t>azert</a:t>
            </a:r>
            <a:r>
              <a:rPr lang="en-US" sz="1200" dirty="0"/>
              <a:t> </a:t>
            </a:r>
            <a:r>
              <a:rPr lang="en-US" sz="1200" dirty="0" err="1"/>
              <a:t>mert</a:t>
            </a:r>
            <a:r>
              <a:rPr lang="en-US" sz="1200" dirty="0"/>
              <a:t> </a:t>
            </a:r>
            <a:r>
              <a:rPr lang="en-US" sz="1200" dirty="0" err="1"/>
              <a:t>mindjart</a:t>
            </a:r>
            <a:r>
              <a:rPr lang="en-US" sz="1200" dirty="0"/>
              <a:t> </a:t>
            </a:r>
            <a:r>
              <a:rPr lang="en-US" sz="1200" dirty="0" err="1"/>
              <a:t>eluszik</a:t>
            </a:r>
            <a:r>
              <a:rPr lang="en-US" sz="1200" dirty="0"/>
              <a:t> lent </a:t>
            </a:r>
            <a:r>
              <a:rPr lang="en-US" sz="1200" dirty="0" err="1"/>
              <a:t>ketszazezer</a:t>
            </a:r>
            <a:r>
              <a:rPr lang="en-US" sz="1200" dirty="0"/>
              <a:t> </a:t>
            </a:r>
            <a:r>
              <a:rPr lang="en-US" sz="1200" dirty="0" err="1"/>
              <a:t>milimeterrel</a:t>
            </a:r>
            <a:r>
              <a:rPr lang="en-US" sz="1200" dirty="0"/>
              <a:t> </a:t>
            </a:r>
            <a:r>
              <a:rPr lang="en-US" sz="1200" dirty="0" err="1"/>
              <a:t>odebb</a:t>
            </a:r>
            <a:r>
              <a:rPr lang="en-US" sz="1200" dirty="0"/>
              <a:t> </a:t>
            </a:r>
            <a:r>
              <a:rPr lang="en-US" sz="1200" dirty="0" err="1"/>
              <a:t>egy</a:t>
            </a:r>
            <a:r>
              <a:rPr lang="en-US" sz="1200" dirty="0"/>
              <a:t> </a:t>
            </a:r>
            <a:r>
              <a:rPr lang="en-US" sz="1200" dirty="0" err="1"/>
              <a:t>repulo</a:t>
            </a:r>
            <a:r>
              <a:rPr lang="en-US" sz="1200" dirty="0"/>
              <a:t>. </a:t>
            </a:r>
            <a:r>
              <a:rPr lang="en-US" sz="1200" dirty="0" err="1"/>
              <a:t>Aztan</a:t>
            </a:r>
            <a:r>
              <a:rPr lang="en-US" sz="1200" dirty="0"/>
              <a:t> a </a:t>
            </a:r>
            <a:r>
              <a:rPr lang="en-US" sz="1200" dirty="0" err="1"/>
              <a:t>repuloben</a:t>
            </a:r>
            <a:r>
              <a:rPr lang="en-US" sz="1200" dirty="0"/>
              <a:t> </a:t>
            </a:r>
            <a:r>
              <a:rPr lang="en-US" sz="1200" dirty="0" err="1"/>
              <a:t>az</a:t>
            </a:r>
            <a:r>
              <a:rPr lang="en-US" sz="1200" dirty="0"/>
              <a:t> </a:t>
            </a:r>
            <a:r>
              <a:rPr lang="en-US" sz="1200" dirty="0" err="1"/>
              <a:t>utasok</a:t>
            </a:r>
            <a:r>
              <a:rPr lang="en-US" sz="1200" dirty="0"/>
              <a:t> </a:t>
            </a:r>
            <a:r>
              <a:rPr lang="en-US" sz="1200" dirty="0" err="1"/>
              <a:t>megkerdeztek</a:t>
            </a:r>
            <a:r>
              <a:rPr lang="en-US" sz="1200" dirty="0"/>
              <a:t> a </a:t>
            </a:r>
            <a:r>
              <a:rPr lang="en-US" sz="1200" dirty="0" err="1"/>
              <a:t>pilotat</a:t>
            </a:r>
            <a:r>
              <a:rPr lang="en-US" sz="1200" dirty="0"/>
              <a:t>: </a:t>
            </a:r>
            <a:r>
              <a:rPr lang="en-US" sz="1200" dirty="0" err="1"/>
              <a:t>Miert</a:t>
            </a:r>
            <a:r>
              <a:rPr lang="en-US" sz="1200" dirty="0"/>
              <a:t> </a:t>
            </a:r>
            <a:r>
              <a:rPr lang="en-US" sz="1200" dirty="0" err="1"/>
              <a:t>kanyargunk</a:t>
            </a:r>
            <a:r>
              <a:rPr lang="en-US" sz="1200" dirty="0"/>
              <a:t> ide </a:t>
            </a:r>
            <a:r>
              <a:rPr lang="en-US" sz="1200" dirty="0" err="1"/>
              <a:t>oda</a:t>
            </a:r>
            <a:r>
              <a:rPr lang="en-US" sz="1200" dirty="0"/>
              <a:t>? </a:t>
            </a:r>
            <a:r>
              <a:rPr lang="en-US" sz="1200" dirty="0" err="1"/>
              <a:t>Mondta</a:t>
            </a:r>
            <a:r>
              <a:rPr lang="en-US" sz="1200" dirty="0"/>
              <a:t>  </a:t>
            </a:r>
            <a:r>
              <a:rPr lang="en-US" sz="1200" dirty="0" err="1"/>
              <a:t>apilota</a:t>
            </a:r>
            <a:r>
              <a:rPr lang="en-US" sz="1200" dirty="0"/>
              <a:t>: </a:t>
            </a:r>
            <a:r>
              <a:rPr lang="en-US" sz="1200" dirty="0" err="1"/>
              <a:t>Azert</a:t>
            </a:r>
            <a:r>
              <a:rPr lang="en-US" sz="1200" dirty="0"/>
              <a:t> </a:t>
            </a:r>
            <a:r>
              <a:rPr lang="en-US" sz="1200" dirty="0" err="1"/>
              <a:t>mert</a:t>
            </a:r>
            <a:r>
              <a:rPr lang="en-US" sz="1200" dirty="0"/>
              <a:t> </a:t>
            </a:r>
            <a:r>
              <a:rPr lang="en-US" sz="1200" dirty="0" err="1"/>
              <a:t>olvasgatok</a:t>
            </a:r>
            <a:r>
              <a:rPr lang="en-US" sz="1200" dirty="0"/>
              <a:t>. </a:t>
            </a:r>
            <a:r>
              <a:rPr lang="en-US" sz="1200" dirty="0" err="1"/>
              <a:t>Aztan</a:t>
            </a:r>
            <a:r>
              <a:rPr lang="en-US" sz="1200" dirty="0"/>
              <a:t> </a:t>
            </a:r>
            <a:r>
              <a:rPr lang="en-US" sz="1200" dirty="0" err="1"/>
              <a:t>megkerdeztek</a:t>
            </a:r>
            <a:r>
              <a:rPr lang="en-US" sz="1200" dirty="0"/>
              <a:t> a </a:t>
            </a:r>
            <a:r>
              <a:rPr lang="en-US" sz="1200" dirty="0" err="1"/>
              <a:t>pincernoket</a:t>
            </a:r>
            <a:r>
              <a:rPr lang="en-US" sz="1200" dirty="0"/>
              <a:t>, </a:t>
            </a:r>
            <a:r>
              <a:rPr lang="en-US" sz="1200" dirty="0" err="1"/>
              <a:t>hogy</a:t>
            </a:r>
            <a:r>
              <a:rPr lang="en-US" sz="1200" dirty="0"/>
              <a:t> </a:t>
            </a:r>
            <a:r>
              <a:rPr lang="en-US" sz="1200" dirty="0" err="1"/>
              <a:t>miert</a:t>
            </a:r>
            <a:r>
              <a:rPr lang="en-US" sz="1200" dirty="0"/>
              <a:t> </a:t>
            </a:r>
            <a:r>
              <a:rPr lang="en-US" sz="1200" dirty="0" err="1"/>
              <a:t>nem</a:t>
            </a:r>
            <a:r>
              <a:rPr lang="en-US" sz="1200" dirty="0"/>
              <a:t> </a:t>
            </a:r>
            <a:r>
              <a:rPr lang="en-US" sz="1200" dirty="0" err="1"/>
              <a:t>kapnak</a:t>
            </a:r>
            <a:r>
              <a:rPr lang="en-US" sz="1200" dirty="0"/>
              <a:t> </a:t>
            </a:r>
            <a:r>
              <a:rPr lang="en-US" sz="1200" dirty="0" err="1"/>
              <a:t>ennivalot</a:t>
            </a:r>
            <a:r>
              <a:rPr lang="en-US" sz="1200" dirty="0"/>
              <a:t>? </a:t>
            </a:r>
            <a:r>
              <a:rPr lang="en-US" sz="1200" dirty="0" err="1"/>
              <a:t>Azert</a:t>
            </a:r>
            <a:r>
              <a:rPr lang="en-US" sz="1200" dirty="0"/>
              <a:t>, </a:t>
            </a:r>
            <a:r>
              <a:rPr lang="en-US" sz="1200" dirty="0" err="1"/>
              <a:t>mert</a:t>
            </a:r>
            <a:r>
              <a:rPr lang="en-US" sz="1200" dirty="0"/>
              <a:t> a </a:t>
            </a:r>
            <a:r>
              <a:rPr lang="en-US" sz="1200" dirty="0" err="1"/>
              <a:t>levesbe</a:t>
            </a:r>
            <a:r>
              <a:rPr lang="en-US" sz="1200" dirty="0"/>
              <a:t> </a:t>
            </a:r>
            <a:r>
              <a:rPr lang="en-US" sz="1200" dirty="0" err="1"/>
              <a:t>beleugrott</a:t>
            </a:r>
            <a:r>
              <a:rPr lang="en-US" sz="1200" dirty="0"/>
              <a:t> </a:t>
            </a:r>
            <a:r>
              <a:rPr lang="en-US" sz="1200" dirty="0" err="1"/>
              <a:t>egy</a:t>
            </a:r>
            <a:r>
              <a:rPr lang="en-US" sz="1200" dirty="0"/>
              <a:t> </a:t>
            </a:r>
            <a:r>
              <a:rPr lang="en-US" sz="1200" dirty="0" err="1"/>
              <a:t>teknos</a:t>
            </a:r>
            <a:r>
              <a:rPr lang="en-US" sz="1200" dirty="0"/>
              <a:t>. A </a:t>
            </a:r>
            <a:r>
              <a:rPr lang="en-US" sz="1200" dirty="0" err="1"/>
              <a:t>teknos</a:t>
            </a:r>
            <a:r>
              <a:rPr lang="en-US" sz="1200" dirty="0"/>
              <a:t> </a:t>
            </a:r>
            <a:r>
              <a:rPr lang="en-US" sz="1200" dirty="0" err="1"/>
              <a:t>pedig</a:t>
            </a:r>
            <a:r>
              <a:rPr lang="en-US" sz="1200" dirty="0"/>
              <a:t> </a:t>
            </a:r>
            <a:r>
              <a:rPr lang="en-US" sz="1200" dirty="0" err="1"/>
              <a:t>azt</a:t>
            </a:r>
            <a:r>
              <a:rPr lang="en-US" sz="1200" dirty="0"/>
              <a:t> </a:t>
            </a:r>
            <a:r>
              <a:rPr lang="en-US" sz="1200" dirty="0" err="1"/>
              <a:t>mondja</a:t>
            </a:r>
            <a:r>
              <a:rPr lang="en-US" sz="1200" dirty="0"/>
              <a:t>, -</a:t>
            </a:r>
            <a:r>
              <a:rPr lang="en-US" sz="1200" baseline="0" dirty="0"/>
              <a:t> </a:t>
            </a:r>
            <a:r>
              <a:rPr lang="en-US" sz="1200" dirty="0"/>
              <a:t>Hajj, </a:t>
            </a:r>
            <a:r>
              <a:rPr lang="en-US" sz="1200" dirty="0" err="1"/>
              <a:t>hogy</a:t>
            </a:r>
            <a:r>
              <a:rPr lang="en-US" sz="1200" dirty="0"/>
              <a:t> a </a:t>
            </a:r>
            <a:r>
              <a:rPr lang="en-US" sz="1200" dirty="0" err="1"/>
              <a:t>birka</a:t>
            </a:r>
            <a:r>
              <a:rPr lang="en-US" sz="1200" dirty="0"/>
              <a:t> </a:t>
            </a:r>
            <a:r>
              <a:rPr lang="en-US" sz="1200" dirty="0" err="1"/>
              <a:t>ejtoernyozik</a:t>
            </a:r>
            <a:r>
              <a:rPr lang="en-US" sz="1200" dirty="0"/>
              <a:t> </a:t>
            </a:r>
            <a:r>
              <a:rPr lang="en-US" sz="1200" dirty="0" err="1"/>
              <a:t>odakint</a:t>
            </a:r>
            <a:r>
              <a:rPr lang="en-US" sz="1200" dirty="0"/>
              <a:t>.</a:t>
            </a:r>
          </a:p>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10</a:t>
            </a:fld>
            <a:endParaRPr lang="en-US"/>
          </a:p>
        </p:txBody>
      </p:sp>
    </p:spTree>
    <p:extLst>
      <p:ext uri="{BB962C8B-B14F-4D97-AF65-F5344CB8AC3E}">
        <p14:creationId xmlns:p14="http://schemas.microsoft.com/office/powerpoint/2010/main" val="25307747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12</a:t>
            </a:fld>
            <a:endParaRPr lang="en-US"/>
          </a:p>
        </p:txBody>
      </p:sp>
    </p:spTree>
    <p:extLst>
      <p:ext uri="{BB962C8B-B14F-4D97-AF65-F5344CB8AC3E}">
        <p14:creationId xmlns:p14="http://schemas.microsoft.com/office/powerpoint/2010/main" val="1349434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13</a:t>
            </a:fld>
            <a:endParaRPr lang="en-US"/>
          </a:p>
        </p:txBody>
      </p:sp>
    </p:spTree>
    <p:extLst>
      <p:ext uri="{BB962C8B-B14F-4D97-AF65-F5344CB8AC3E}">
        <p14:creationId xmlns:p14="http://schemas.microsoft.com/office/powerpoint/2010/main" val="12791235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Image Placeholder 1"/>
          <p:cNvSpPr>
            <a:spLocks noGrp="1" noRot="1" noChangeAspect="1"/>
          </p:cNvSpPr>
          <p:nvPr>
            <p:ph type="sldImg"/>
          </p:nvPr>
        </p:nvSpPr>
        <p:spPr bwMode="auto">
          <a:noFill/>
          <a:ln>
            <a:solidFill>
              <a:srgbClr val="000000"/>
            </a:solidFill>
            <a:miter lim="800000"/>
            <a:headEnd/>
            <a:tailEnd/>
          </a:ln>
        </p:spPr>
      </p:sp>
      <p:sp>
        <p:nvSpPr>
          <p:cNvPr id="16386" name="Notes Placeholder 2"/>
          <p:cNvSpPr>
            <a:spLocks noGrp="1"/>
          </p:cNvSpPr>
          <p:nvPr>
            <p:ph type="body" idx="1"/>
          </p:nvPr>
        </p:nvSpPr>
        <p:spPr bwMode="auto">
          <a:noFill/>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dirty="0"/>
              <a:t>Mindset of exploratory tester</a:t>
            </a:r>
          </a:p>
          <a:p>
            <a:endParaRPr lang="en-US" sz="1200" dirty="0"/>
          </a:p>
          <a:p>
            <a:r>
              <a:rPr lang="en-US" sz="1200" dirty="0"/>
              <a:t>Makes unusual decisions and actions. Tries to think potential scenarios what might be there when something goes wrong.</a:t>
            </a:r>
          </a:p>
          <a:p>
            <a:r>
              <a:rPr lang="en-US" sz="1200" dirty="0"/>
              <a:t>Owns “Test to make it crash” attitude. Tries not only get required steps and tests to pass, but tries to make the system fail</a:t>
            </a:r>
          </a:p>
          <a:p>
            <a:r>
              <a:rPr lang="en-US" sz="1200" dirty="0"/>
              <a:t>Is like a child who plays with the toy, except the toy is the SUT</a:t>
            </a:r>
          </a:p>
          <a:p>
            <a:r>
              <a:rPr lang="en-US" sz="1200" dirty="0"/>
              <a:t>Makes silly actions, don’t even try to follow the rules. </a:t>
            </a:r>
          </a:p>
          <a:p>
            <a:r>
              <a:rPr lang="en-US" sz="1200" dirty="0"/>
              <a:t>Thinks: “what is particularly not forbidden should be allowed”</a:t>
            </a:r>
          </a:p>
          <a:p>
            <a:endParaRPr lang="en-US" dirty="0">
              <a:ea typeface="ヒラギノ角ゴ Pro W3"/>
              <a:cs typeface="ヒラギノ角ゴ Pro W3"/>
            </a:endParaRPr>
          </a:p>
        </p:txBody>
      </p:sp>
      <p:sp>
        <p:nvSpPr>
          <p:cNvPr id="4" name="Slide Number Placeholder 3"/>
          <p:cNvSpPr>
            <a:spLocks noGrp="1"/>
          </p:cNvSpPr>
          <p:nvPr>
            <p:ph type="sldNum" sz="quarter" idx="5"/>
          </p:nvPr>
        </p:nvSpPr>
        <p:spPr/>
        <p:txBody>
          <a:bodyPr/>
          <a:lstStyle/>
          <a:p>
            <a:pPr>
              <a:defRPr/>
            </a:pPr>
            <a:fld id="{144C9D3D-536F-470D-9FCC-94118C5CAAA8}" type="slidenum">
              <a:rPr lang="en-US" smtClean="0"/>
              <a:pPr>
                <a:defRPr/>
              </a:pPr>
              <a:t>14</a:t>
            </a:fld>
            <a:endParaRPr lang="en-US"/>
          </a:p>
        </p:txBody>
      </p:sp>
    </p:spTree>
    <p:extLst>
      <p:ext uri="{BB962C8B-B14F-4D97-AF65-F5344CB8AC3E}">
        <p14:creationId xmlns:p14="http://schemas.microsoft.com/office/powerpoint/2010/main" val="37557470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dirty="0"/>
              <a:t>All issues analyzed and categorized</a:t>
            </a:r>
          </a:p>
          <a:p>
            <a:r>
              <a:rPr lang="en-US" sz="1200" dirty="0"/>
              <a:t>Further investigation of issues and reporting clear faults</a:t>
            </a:r>
          </a:p>
          <a:p>
            <a:endParaRPr lang="en-US" sz="1200" dirty="0"/>
          </a:p>
          <a:p>
            <a:r>
              <a:rPr lang="en-US" sz="1200" dirty="0"/>
              <a:t>Winning team recognized with certificate</a:t>
            </a:r>
          </a:p>
          <a:p>
            <a:r>
              <a:rPr lang="en-US" sz="1200" dirty="0"/>
              <a:t>Small prize for winners</a:t>
            </a:r>
          </a:p>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18</a:t>
            </a:fld>
            <a:endParaRPr lang="en-US"/>
          </a:p>
        </p:txBody>
      </p:sp>
    </p:spTree>
    <p:extLst>
      <p:ext uri="{BB962C8B-B14F-4D97-AF65-F5344CB8AC3E}">
        <p14:creationId xmlns:p14="http://schemas.microsoft.com/office/powerpoint/2010/main" val="12386579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6.jpe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10.jpe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11.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12.jpe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13.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14.jpe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15.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15.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15.jpe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jpe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jpe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26.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27.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7.png"/></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28.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4.jpe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29.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9.png"/></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30.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6.jpeg"/></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1.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10.jpe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32.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11.jpeg"/></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3.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12.jpeg"/></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4.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13.jpeg"/></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35.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14.jpeg"/></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36.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15.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7.xml"/><Relationship Id="rId1" Type="http://schemas.openxmlformats.org/officeDocument/2006/relationships/vmlDrawing" Target="../drawings/vmlDrawing35.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15.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4.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E73AFB-0BD6-4E14-BC52-1E6B1653F7A0}"/>
              </a:ext>
            </a:extLst>
          </p:cNvPr>
          <p:cNvGraphicFramePr>
            <a:graphicFrameLocks noChangeAspect="1"/>
          </p:cNvGraphicFramePr>
          <p:nvPr userDrawn="1">
            <p:custDataLst>
              <p:tags r:id="rId2"/>
            </p:custDataLst>
            <p:extLst>
              <p:ext uri="{D42A27DB-BD31-4B8C-83A1-F6EECF244321}">
                <p14:modId xmlns:p14="http://schemas.microsoft.com/office/powerpoint/2010/main" val="1808664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p:txBody>
          <a:bodyPr/>
          <a:lstStyle>
            <a:lvl1pPr>
              <a:spcAft>
                <a:spcPts val="600"/>
              </a:spcAft>
              <a:defRPr baseline="0"/>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1"/>
          <p:cNvSpPr>
            <a:spLocks noGrp="1"/>
          </p:cNvSpPr>
          <p:nvPr>
            <p:ph type="title"/>
          </p:nvPr>
        </p:nvSpPr>
        <p:spPr>
          <a:xfrm>
            <a:off x="418120" y="279249"/>
            <a:ext cx="8229600" cy="311789"/>
          </a:xfrm>
        </p:spPr>
        <p:txBody>
          <a:bodyPr/>
          <a:lstStyle>
            <a:lvl1pPr>
              <a:defRPr/>
            </a:lvl1pPr>
          </a:lstStyle>
          <a:p>
            <a:r>
              <a:rPr lang="en-US"/>
              <a:t>Click to edit Master title style</a:t>
            </a:r>
            <a:endParaRPr lang="en-US" dirty="0"/>
          </a:p>
        </p:txBody>
      </p:sp>
      <p:sp>
        <p:nvSpPr>
          <p:cNvPr id="6"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pic>
        <p:nvPicPr>
          <p:cNvPr id="7" name="Picture 5"/>
          <p:cNvPicPr>
            <a:picLocks noChangeAspect="1" noChangeArrowheads="1"/>
          </p:cNvPicPr>
          <p:nvPr userDrawn="1"/>
        </p:nvPicPr>
        <p:blipFill>
          <a:blip r:embed="rId6"/>
          <a:srcRect/>
          <a:stretch>
            <a:fillRect/>
          </a:stretch>
        </p:blipFill>
        <p:spPr bwMode="auto">
          <a:xfrm>
            <a:off x="8059799" y="218365"/>
            <a:ext cx="647472" cy="668740"/>
          </a:xfrm>
          <a:prstGeom prst="rect">
            <a:avLst/>
          </a:prstGeom>
          <a:noFill/>
          <a:ln w="9525">
            <a:noFill/>
            <a:miter lim="800000"/>
            <a:headEnd/>
            <a:tailEnd/>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8_Title and Content">
    <p:spTree>
      <p:nvGrpSpPr>
        <p:cNvPr id="1" name=""/>
        <p:cNvGrpSpPr/>
        <p:nvPr/>
      </p:nvGrpSpPr>
      <p:grpSpPr>
        <a:xfrm>
          <a:off x="0" y="0"/>
          <a:ext cx="0" cy="0"/>
          <a:chOff x="0" y="0"/>
          <a:chExt cx="0" cy="0"/>
        </a:xfrm>
      </p:grpSpPr>
      <p:pic>
        <p:nvPicPr>
          <p:cNvPr id="12" name="Picture 19" descr="GettyImages_88831632._HDjpg.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0" name="think-cell Slide" r:id="rId5" imgW="216" imgH="216" progId="TCLayout.ActiveDocument.1">
                  <p:embed/>
                </p:oleObj>
              </mc:Choice>
              <mc:Fallback>
                <p:oleObj name="think-cell Slide" r:id="rId5" imgW="216" imgH="216"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txBox="1">
            <a:spLocks/>
          </p:cNvSpPr>
          <p:nvPr/>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bg1"/>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bg1"/>
              </a:solidFill>
              <a:latin typeface="Nokia Pure Text Light" panose="020B0304040602060303" pitchFamily="34" charset="0"/>
              <a:cs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chemeClr val="bg1"/>
                </a:solidFill>
                <a:latin typeface="Nokia Pure Text Light" panose="020B0304040602060303" pitchFamily="34" charset="0"/>
                <a:cs typeface="Arial" panose="020B0604020202020204" pitchFamily="34" charset="0"/>
              </a:rPr>
              <a:t>© Nokia 2019</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35200" y="4806239"/>
            <a:ext cx="690379" cy="112048"/>
          </a:xfrm>
          <a:prstGeom prst="rect">
            <a:avLst/>
          </a:prstGeom>
        </p:spPr>
      </p:pic>
      <p:sp>
        <p:nvSpPr>
          <p:cNvPr id="10" name="TextBox 9"/>
          <p:cNvSpPr txBox="1"/>
          <p:nvPr userDrawn="1"/>
        </p:nvSpPr>
        <p:spPr>
          <a:xfrm>
            <a:off x="425731" y="4956412"/>
            <a:ext cx="1800000" cy="122237"/>
          </a:xfrm>
          <a:prstGeom prst="rect">
            <a:avLst/>
          </a:prstGeom>
          <a:noFill/>
        </p:spPr>
        <p:txBody>
          <a:bodyPr wrap="square" lIns="0" tIns="0" rIns="0" bIns="0" anchor="b">
            <a:spAutoFit/>
          </a:bodyPr>
          <a:lstStyle/>
          <a:p>
            <a:r>
              <a:rPr lang="en-GB" sz="800" kern="1200" dirty="0">
                <a:solidFill>
                  <a:schemeClr val="bg1"/>
                </a:solidFill>
                <a:latin typeface="Arial" charset="0"/>
                <a:ea typeface="ヒラギノ角ゴ Pro W3"/>
                <a:cs typeface="Arial" charset="0"/>
              </a:rPr>
              <a:t>PUBLIC</a:t>
            </a:r>
          </a:p>
        </p:txBody>
      </p:sp>
    </p:spTree>
    <p:extLst>
      <p:ext uri="{BB962C8B-B14F-4D97-AF65-F5344CB8AC3E}">
        <p14:creationId xmlns:p14="http://schemas.microsoft.com/office/powerpoint/2010/main" val="35180146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obj" preserve="1">
  <p:cSld name="9_Title and Content">
    <p:spTree>
      <p:nvGrpSpPr>
        <p:cNvPr id="1" name=""/>
        <p:cNvGrpSpPr/>
        <p:nvPr/>
      </p:nvGrpSpPr>
      <p:grpSpPr>
        <a:xfrm>
          <a:off x="0" y="0"/>
          <a:ext cx="0" cy="0"/>
          <a:chOff x="0" y="0"/>
          <a:chExt cx="0" cy="0"/>
        </a:xfrm>
      </p:grpSpPr>
      <p:pic>
        <p:nvPicPr>
          <p:cNvPr id="10" name="Picture 2" descr="483605169.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p:cNvSpPr/>
          <p:nvPr userDrawn="1"/>
        </p:nvSpPr>
        <p:spPr bwMode="auto">
          <a:xfrm rot="5400000">
            <a:off x="3786486" y="-3789517"/>
            <a:ext cx="1564966" cy="9144000"/>
          </a:xfrm>
          <a:prstGeom prst="rect">
            <a:avLst/>
          </a:prstGeom>
          <a:gradFill flip="none" rotWithShape="1">
            <a:gsLst>
              <a:gs pos="100000">
                <a:schemeClr val="bg1">
                  <a:alpha val="0"/>
                </a:schemeClr>
              </a:gs>
              <a:gs pos="26000">
                <a:srgbClr val="FFFFFF">
                  <a:alpha val="8700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tIns="90000" bIns="90000"/>
          <a:lstStyle/>
          <a:p>
            <a:pPr algn="ctr" eaLnBrk="1" fontAlgn="auto" hangingPunct="1">
              <a:spcBef>
                <a:spcPts val="0"/>
              </a:spcBef>
              <a:spcAft>
                <a:spcPts val="0"/>
              </a:spcAft>
              <a:defRPr/>
            </a:pPr>
            <a:endParaRPr lang="en-GB" dirty="0">
              <a:solidFill>
                <a:schemeClr val="accent4"/>
              </a:solidFill>
            </a:endParaRPr>
          </a:p>
        </p:txBody>
      </p:sp>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4" name="think-cell Slide" r:id="rId5" imgW="216" imgH="216" progId="TCLayout.ActiveDocument.1">
                  <p:embed/>
                </p:oleObj>
              </mc:Choice>
              <mc:Fallback>
                <p:oleObj name="think-cell Slide" r:id="rId5" imgW="216" imgH="216"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txBox="1">
            <a:spLocks/>
          </p:cNvSpPr>
          <p:nvPr/>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tx2"/>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tx2"/>
              </a:solidFill>
              <a:latin typeface="Nokia Pure Text Light" panose="020B0304040602060303" pitchFamily="34" charset="0"/>
              <a:cs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chemeClr val="tx2"/>
                </a:solidFill>
                <a:latin typeface="Nokia Pure Text Light" panose="020B0304040602060303" pitchFamily="34" charset="0"/>
                <a:cs typeface="Arial" panose="020B0604020202020204" pitchFamily="34" charset="0"/>
              </a:rPr>
              <a:t>© Nokia 2019</a:t>
            </a:r>
          </a:p>
        </p:txBody>
      </p:sp>
      <p:pic>
        <p:nvPicPr>
          <p:cNvPr id="16" name="Picture 15"/>
          <p:cNvPicPr>
            <a:picLocks/>
          </p:cNvPicPr>
          <p:nvPr userDrawn="1"/>
        </p:nvPicPr>
        <p:blipFill>
          <a:blip r:embed="rId7">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
        <p:nvSpPr>
          <p:cNvPr id="13" name="TextBox 12"/>
          <p:cNvSpPr txBox="1"/>
          <p:nvPr userDrawn="1"/>
        </p:nvSpPr>
        <p:spPr>
          <a:xfrm>
            <a:off x="425731" y="4956412"/>
            <a:ext cx="1800000" cy="122237"/>
          </a:xfrm>
          <a:prstGeom prst="rect">
            <a:avLst/>
          </a:prstGeom>
          <a:noFill/>
        </p:spPr>
        <p:txBody>
          <a:bodyPr wrap="square" lIns="0" tIns="0" rIns="0" bIns="0" anchor="b">
            <a:spAutoFit/>
          </a:bodyPr>
          <a:lstStyle/>
          <a:p>
            <a:r>
              <a:rPr lang="en-GB" sz="800" dirty="0">
                <a:solidFill>
                  <a:schemeClr val="tx2"/>
                </a:solidFill>
                <a:latin typeface="+mn-lt"/>
                <a:cs typeface="Arial" charset="0"/>
              </a:rPr>
              <a:t>Nokia internal use</a:t>
            </a:r>
          </a:p>
        </p:txBody>
      </p:sp>
    </p:spTree>
    <p:extLst>
      <p:ext uri="{BB962C8B-B14F-4D97-AF65-F5344CB8AC3E}">
        <p14:creationId xmlns:p14="http://schemas.microsoft.com/office/powerpoint/2010/main" val="14112799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reserve="1">
  <p:cSld name="10_Title and Content">
    <p:spTree>
      <p:nvGrpSpPr>
        <p:cNvPr id="1" name=""/>
        <p:cNvGrpSpPr/>
        <p:nvPr/>
      </p:nvGrpSpPr>
      <p:grpSpPr>
        <a:xfrm>
          <a:off x="0" y="0"/>
          <a:ext cx="0" cy="0"/>
          <a:chOff x="0" y="0"/>
          <a:chExt cx="0" cy="0"/>
        </a:xfrm>
      </p:grpSpPr>
      <p:sp>
        <p:nvSpPr>
          <p:cNvPr id="12" name="Rectangle 11"/>
          <p:cNvSpPr/>
          <p:nvPr userDrawn="1"/>
        </p:nvSpPr>
        <p:spPr>
          <a:xfrm>
            <a:off x="0" y="0"/>
            <a:ext cx="9144000" cy="5143500"/>
          </a:xfrm>
          <a:prstGeom prst="rect">
            <a:avLst/>
          </a:prstGeom>
          <a:blipFill>
            <a:blip r:embed="rId4"/>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tIns="90000" bIns="90000"/>
          <a:lstStyle/>
          <a:p>
            <a:pPr algn="r" eaLnBrk="1" fontAlgn="auto" hangingPunct="1">
              <a:spcBef>
                <a:spcPts val="0"/>
              </a:spcBef>
              <a:spcAft>
                <a:spcPts val="0"/>
              </a:spcAft>
              <a:defRPr/>
            </a:pPr>
            <a:endParaRPr lang="en-GB" dirty="0">
              <a:solidFill>
                <a:schemeClr val="bg1"/>
              </a:solidFill>
            </a:endParaRPr>
          </a:p>
          <a:p>
            <a:pPr algn="r" eaLnBrk="1" fontAlgn="auto" hangingPunct="1">
              <a:spcBef>
                <a:spcPts val="0"/>
              </a:spcBef>
              <a:spcAft>
                <a:spcPts val="0"/>
              </a:spcAft>
              <a:defRPr/>
            </a:pPr>
            <a:endParaRPr lang="en-GB" dirty="0">
              <a:solidFill>
                <a:schemeClr val="bg1"/>
              </a:solidFill>
            </a:endParaRPr>
          </a:p>
          <a:p>
            <a:pPr algn="r" eaLnBrk="1" fontAlgn="auto" hangingPunct="1">
              <a:spcBef>
                <a:spcPts val="0"/>
              </a:spcBef>
              <a:spcAft>
                <a:spcPts val="0"/>
              </a:spcAft>
              <a:defRPr/>
            </a:pPr>
            <a:endParaRPr lang="en-GB" dirty="0">
              <a:solidFill>
                <a:schemeClr val="bg1"/>
              </a:solidFill>
            </a:endParaRPr>
          </a:p>
        </p:txBody>
      </p:sp>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58" name="think-cell Slide" r:id="rId5" imgW="216" imgH="216" progId="TCLayout.ActiveDocument.1">
                  <p:embed/>
                </p:oleObj>
              </mc:Choice>
              <mc:Fallback>
                <p:oleObj name="think-cell Slide" r:id="rId5" imgW="216" imgH="216"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txBox="1">
            <a:spLocks/>
          </p:cNvSpPr>
          <p:nvPr/>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tx2"/>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tx2"/>
              </a:solidFill>
              <a:latin typeface="Nokia Pure Text Light" panose="020B0304040602060303" pitchFamily="34" charset="0"/>
              <a:cs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rgbClr val="001135"/>
                </a:solidFill>
                <a:latin typeface="Nokia Pure Text Light" panose="020B0304040602060303" pitchFamily="34" charset="0"/>
                <a:cs typeface="Arial" panose="020B0604020202020204" pitchFamily="34" charset="0"/>
              </a:rPr>
              <a:t>© Nokia 2019</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35200" y="4806239"/>
            <a:ext cx="690379" cy="112048"/>
          </a:xfrm>
          <a:prstGeom prst="rect">
            <a:avLst/>
          </a:prstGeom>
        </p:spPr>
      </p:pic>
      <p:sp>
        <p:nvSpPr>
          <p:cNvPr id="10" name="TextBox 9"/>
          <p:cNvSpPr txBox="1"/>
          <p:nvPr userDrawn="1"/>
        </p:nvSpPr>
        <p:spPr>
          <a:xfrm>
            <a:off x="425731" y="4956412"/>
            <a:ext cx="1800000" cy="122237"/>
          </a:xfrm>
          <a:prstGeom prst="rect">
            <a:avLst/>
          </a:prstGeom>
          <a:noFill/>
        </p:spPr>
        <p:txBody>
          <a:bodyPr wrap="square" lIns="0" tIns="0" rIns="0" bIns="0" anchor="b">
            <a:spAutoFit/>
          </a:bodyPr>
          <a:lstStyle/>
          <a:p>
            <a:r>
              <a:rPr lang="en-GB" sz="800" dirty="0">
                <a:solidFill>
                  <a:schemeClr val="tx2"/>
                </a:solidFill>
                <a:latin typeface="+mn-lt"/>
                <a:cs typeface="Arial" charset="0"/>
              </a:rPr>
              <a:t>Nokia internal use</a:t>
            </a:r>
          </a:p>
        </p:txBody>
      </p:sp>
    </p:spTree>
    <p:extLst>
      <p:ext uri="{BB962C8B-B14F-4D97-AF65-F5344CB8AC3E}">
        <p14:creationId xmlns:p14="http://schemas.microsoft.com/office/powerpoint/2010/main" val="37838814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11_Title and Content">
    <p:spTree>
      <p:nvGrpSpPr>
        <p:cNvPr id="1" name=""/>
        <p:cNvGrpSpPr/>
        <p:nvPr/>
      </p:nvGrpSpPr>
      <p:grpSpPr>
        <a:xfrm>
          <a:off x="0" y="0"/>
          <a:ext cx="0" cy="0"/>
          <a:chOff x="0" y="0"/>
          <a:chExt cx="0" cy="0"/>
        </a:xfrm>
      </p:grpSpPr>
      <p:pic>
        <p:nvPicPr>
          <p:cNvPr id="10" name="Picture 1" descr="D:\_nokia\PPT\GS Executive ppt\images\stock-photo-22259039-we-climbed-it.jpg"/>
          <p:cNvPicPr>
            <a:picLocks noChangeAspect="1" noChangeArrowheads="1"/>
          </p:cNvPicPr>
          <p:nvPr userDrawn="1"/>
        </p:nvPicPr>
        <p:blipFill>
          <a:blip r:embed="rId4">
            <a:extLst>
              <a:ext uri="{28A0092B-C50C-407E-A947-70E740481C1C}">
                <a14:useLocalDpi xmlns:a14="http://schemas.microsoft.com/office/drawing/2010/main" val="0"/>
              </a:ext>
            </a:extLst>
          </a:blip>
          <a:srcRect t="7079" r="800" b="9975"/>
          <a:stretch>
            <a:fillRect/>
          </a:stretch>
        </p:blipFill>
        <p:spPr bwMode="auto">
          <a:xfrm>
            <a:off x="0" y="-1"/>
            <a:ext cx="9144000" cy="5143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2" name="think-cell Slide" r:id="rId5" imgW="216" imgH="216" progId="TCLayout.ActiveDocument.1">
                  <p:embed/>
                </p:oleObj>
              </mc:Choice>
              <mc:Fallback>
                <p:oleObj name="think-cell Slide" r:id="rId5" imgW="216" imgH="216"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txBox="1">
            <a:spLocks/>
          </p:cNvSpPr>
          <p:nvPr/>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tx2"/>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tx2"/>
              </a:solidFill>
              <a:latin typeface="Nokia Pure Text Light" panose="020B0304040602060303" pitchFamily="34" charset="0"/>
              <a:cs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rgbClr val="001135"/>
                </a:solidFill>
                <a:latin typeface="Nokia Pure Text Light" panose="020B0304040602060303" pitchFamily="34" charset="0"/>
                <a:cs typeface="Arial" panose="020B0604020202020204" pitchFamily="34" charset="0"/>
              </a:rPr>
              <a:t>© Nokia 2019</a:t>
            </a:r>
          </a:p>
        </p:txBody>
      </p:sp>
      <p:pic>
        <p:nvPicPr>
          <p:cNvPr id="15" name="Picture 14"/>
          <p:cNvPicPr>
            <a:picLocks/>
          </p:cNvPicPr>
          <p:nvPr userDrawn="1"/>
        </p:nvPicPr>
        <p:blipFill>
          <a:blip r:embed="rId7">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
        <p:nvSpPr>
          <p:cNvPr id="12" name="TextBox 11"/>
          <p:cNvSpPr txBox="1"/>
          <p:nvPr userDrawn="1"/>
        </p:nvSpPr>
        <p:spPr>
          <a:xfrm>
            <a:off x="425731" y="4956412"/>
            <a:ext cx="1800000" cy="122237"/>
          </a:xfrm>
          <a:prstGeom prst="rect">
            <a:avLst/>
          </a:prstGeom>
          <a:noFill/>
        </p:spPr>
        <p:txBody>
          <a:bodyPr wrap="square" lIns="0" tIns="0" rIns="0" bIns="0" anchor="b">
            <a:spAutoFit/>
          </a:bodyPr>
          <a:lstStyle/>
          <a:p>
            <a:r>
              <a:rPr lang="en-GB" sz="800" dirty="0">
                <a:solidFill>
                  <a:schemeClr val="tx2"/>
                </a:solidFill>
                <a:latin typeface="+mn-lt"/>
                <a:cs typeface="Arial" charset="0"/>
              </a:rPr>
              <a:t>PUBLIC</a:t>
            </a:r>
          </a:p>
        </p:txBody>
      </p:sp>
    </p:spTree>
    <p:extLst>
      <p:ext uri="{BB962C8B-B14F-4D97-AF65-F5344CB8AC3E}">
        <p14:creationId xmlns:p14="http://schemas.microsoft.com/office/powerpoint/2010/main" val="24100980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12_Title and Content">
    <p:spTree>
      <p:nvGrpSpPr>
        <p:cNvPr id="1" name=""/>
        <p:cNvGrpSpPr/>
        <p:nvPr/>
      </p:nvGrpSpPr>
      <p:grpSpPr>
        <a:xfrm>
          <a:off x="0" y="0"/>
          <a:ext cx="0" cy="0"/>
          <a:chOff x="0" y="0"/>
          <a:chExt cx="0" cy="0"/>
        </a:xfrm>
      </p:grpSpPr>
      <p:pic>
        <p:nvPicPr>
          <p:cNvPr id="12" name="Picture 2" descr="497322773.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userDrawn="1"/>
        </p:nvSpPr>
        <p:spPr bwMode="auto">
          <a:xfrm rot="5400000">
            <a:off x="3789517" y="-3789515"/>
            <a:ext cx="1564966" cy="9144000"/>
          </a:xfrm>
          <a:prstGeom prst="rect">
            <a:avLst/>
          </a:prstGeom>
          <a:gradFill flip="none" rotWithShape="1">
            <a:gsLst>
              <a:gs pos="100000">
                <a:schemeClr val="bg1">
                  <a:alpha val="0"/>
                </a:schemeClr>
              </a:gs>
              <a:gs pos="0">
                <a:srgbClr val="FFFFFF">
                  <a:alpha val="8200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tIns="90000" bIns="90000"/>
          <a:lstStyle/>
          <a:p>
            <a:pPr algn="ctr" eaLnBrk="1" fontAlgn="auto" hangingPunct="1">
              <a:spcBef>
                <a:spcPts val="0"/>
              </a:spcBef>
              <a:spcAft>
                <a:spcPts val="0"/>
              </a:spcAft>
              <a:defRPr/>
            </a:pPr>
            <a:endParaRPr lang="en-GB" dirty="0">
              <a:solidFill>
                <a:schemeClr val="accent4"/>
              </a:solidFill>
            </a:endParaRPr>
          </a:p>
        </p:txBody>
      </p:sp>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06" name="think-cell Slide" r:id="rId5" imgW="216" imgH="216" progId="TCLayout.ActiveDocument.1">
                  <p:embed/>
                </p:oleObj>
              </mc:Choice>
              <mc:Fallback>
                <p:oleObj name="think-cell Slide" r:id="rId5" imgW="216" imgH="216"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txBox="1">
            <a:spLocks/>
          </p:cNvSpPr>
          <p:nvPr/>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tx2"/>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tx2"/>
              </a:solidFill>
              <a:latin typeface="Nokia Pure Text Light" panose="020B0304040602060303" pitchFamily="34" charset="0"/>
              <a:cs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rgbClr val="001135"/>
                </a:solidFill>
                <a:latin typeface="Nokia Pure Text Light" panose="020B0304040602060303" pitchFamily="34" charset="0"/>
                <a:cs typeface="Arial" panose="020B0604020202020204" pitchFamily="34" charset="0"/>
              </a:rPr>
              <a:t>© Nokia 2019</a:t>
            </a:r>
          </a:p>
        </p:txBody>
      </p:sp>
      <p:pic>
        <p:nvPicPr>
          <p:cNvPr id="15" name="Picture 14"/>
          <p:cNvPicPr>
            <a:picLocks/>
          </p:cNvPicPr>
          <p:nvPr userDrawn="1"/>
        </p:nvPicPr>
        <p:blipFill>
          <a:blip r:embed="rId7">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
        <p:nvSpPr>
          <p:cNvPr id="13" name="TextBox 12"/>
          <p:cNvSpPr txBox="1"/>
          <p:nvPr userDrawn="1"/>
        </p:nvSpPr>
        <p:spPr>
          <a:xfrm>
            <a:off x="425731" y="4956412"/>
            <a:ext cx="1800000" cy="122237"/>
          </a:xfrm>
          <a:prstGeom prst="rect">
            <a:avLst/>
          </a:prstGeom>
          <a:noFill/>
        </p:spPr>
        <p:txBody>
          <a:bodyPr wrap="square" lIns="0" tIns="0" rIns="0" bIns="0" anchor="b">
            <a:spAutoFit/>
          </a:bodyPr>
          <a:lstStyle/>
          <a:p>
            <a:r>
              <a:rPr lang="en-GB" sz="800" dirty="0">
                <a:solidFill>
                  <a:schemeClr val="tx2"/>
                </a:solidFill>
                <a:latin typeface="+mn-lt"/>
                <a:cs typeface="Arial" charset="0"/>
              </a:rPr>
              <a:t>Nokia internal use</a:t>
            </a:r>
          </a:p>
        </p:txBody>
      </p:sp>
    </p:spTree>
    <p:extLst>
      <p:ext uri="{BB962C8B-B14F-4D97-AF65-F5344CB8AC3E}">
        <p14:creationId xmlns:p14="http://schemas.microsoft.com/office/powerpoint/2010/main" val="25550451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reserve="1">
  <p:cSld name="13_Title and Content">
    <p:spTree>
      <p:nvGrpSpPr>
        <p:cNvPr id="1" name=""/>
        <p:cNvGrpSpPr/>
        <p:nvPr/>
      </p:nvGrpSpPr>
      <p:grpSpPr>
        <a:xfrm>
          <a:off x="0" y="0"/>
          <a:ext cx="0" cy="0"/>
          <a:chOff x="0" y="0"/>
          <a:chExt cx="0" cy="0"/>
        </a:xfrm>
      </p:grpSpPr>
      <p:pic>
        <p:nvPicPr>
          <p:cNvPr id="16" name="Picture 1" descr="D:\userdata\a1sinha\Desktop\Sales Conference\GettyImages_471095445_CMYK.jpg"/>
          <p:cNvPicPr>
            <a:picLocks noChangeAspect="1" noChangeArrowheads="1"/>
          </p:cNvPicPr>
          <p:nvPr userDrawn="1"/>
        </p:nvPicPr>
        <p:blipFill>
          <a:blip r:embed="rId4">
            <a:extLst>
              <a:ext uri="{28A0092B-C50C-407E-A947-70E740481C1C}">
                <a14:useLocalDpi xmlns:a14="http://schemas.microsoft.com/office/drawing/2010/main" val="0"/>
              </a:ext>
            </a:extLst>
          </a:blip>
          <a:srcRect l="2000" t="9641" r="2000" b="9641"/>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30" name="think-cell Slide" r:id="rId5" imgW="216" imgH="216" progId="TCLayout.ActiveDocument.1">
                  <p:embed/>
                </p:oleObj>
              </mc:Choice>
              <mc:Fallback>
                <p:oleObj name="think-cell Slide" r:id="rId5" imgW="216" imgH="216"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txBox="1">
            <a:spLocks/>
          </p:cNvSpPr>
          <p:nvPr/>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tx2"/>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tx2"/>
              </a:solidFill>
              <a:latin typeface="Nokia Pure Text Light" panose="020B0304040602060303" pitchFamily="34" charset="0"/>
              <a:cs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rgbClr val="001135"/>
                </a:solidFill>
                <a:latin typeface="Nokia Pure Text Light" panose="020B0304040602060303" pitchFamily="34" charset="0"/>
                <a:cs typeface="Arial" panose="020B0604020202020204" pitchFamily="34" charset="0"/>
              </a:rPr>
              <a:t>© Nokia 2019</a:t>
            </a:r>
          </a:p>
        </p:txBody>
      </p:sp>
      <p:pic>
        <p:nvPicPr>
          <p:cNvPr id="15" name="Picture 14"/>
          <p:cNvPicPr>
            <a:picLocks/>
          </p:cNvPicPr>
          <p:nvPr userDrawn="1"/>
        </p:nvPicPr>
        <p:blipFill>
          <a:blip r:embed="rId7">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
        <p:nvSpPr>
          <p:cNvPr id="10" name="TextBox 9"/>
          <p:cNvSpPr txBox="1"/>
          <p:nvPr userDrawn="1"/>
        </p:nvSpPr>
        <p:spPr>
          <a:xfrm>
            <a:off x="425731" y="4956412"/>
            <a:ext cx="1800000" cy="122237"/>
          </a:xfrm>
          <a:prstGeom prst="rect">
            <a:avLst/>
          </a:prstGeom>
          <a:noFill/>
        </p:spPr>
        <p:txBody>
          <a:bodyPr wrap="square" lIns="0" tIns="0" rIns="0" bIns="0" anchor="b">
            <a:spAutoFit/>
          </a:bodyPr>
          <a:lstStyle/>
          <a:p>
            <a:r>
              <a:rPr lang="en-GB" sz="800" dirty="0">
                <a:solidFill>
                  <a:schemeClr val="tx2"/>
                </a:solidFill>
                <a:latin typeface="+mn-lt"/>
                <a:cs typeface="Arial" charset="0"/>
              </a:rPr>
              <a:t>Nokia internal use</a:t>
            </a:r>
          </a:p>
        </p:txBody>
      </p:sp>
    </p:spTree>
    <p:extLst>
      <p:ext uri="{BB962C8B-B14F-4D97-AF65-F5344CB8AC3E}">
        <p14:creationId xmlns:p14="http://schemas.microsoft.com/office/powerpoint/2010/main" val="6906196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14_Title and Content">
    <p:spTree>
      <p:nvGrpSpPr>
        <p:cNvPr id="1" name=""/>
        <p:cNvGrpSpPr/>
        <p:nvPr/>
      </p:nvGrpSpPr>
      <p:grpSpPr>
        <a:xfrm>
          <a:off x="0" y="0"/>
          <a:ext cx="0" cy="0"/>
          <a:chOff x="0" y="0"/>
          <a:chExt cx="0" cy="0"/>
        </a:xfrm>
      </p:grpSpPr>
      <p:pic>
        <p:nvPicPr>
          <p:cNvPr id="10" name="Picture 3" descr="Nokia image selection-02.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3999" cy="5146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54" name="think-cell Slide" r:id="rId5" imgW="216" imgH="216" progId="TCLayout.ActiveDocument.1">
                  <p:embed/>
                </p:oleObj>
              </mc:Choice>
              <mc:Fallback>
                <p:oleObj name="think-cell Slide" r:id="rId5" imgW="216" imgH="216"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35200" y="4806239"/>
            <a:ext cx="690379" cy="112048"/>
          </a:xfrm>
          <a:prstGeom prst="rect">
            <a:avLst/>
          </a:prstGeom>
        </p:spPr>
      </p:pic>
      <p:sp>
        <p:nvSpPr>
          <p:cNvPr id="7" name="Slide Number Placeholder 5"/>
          <p:cNvSpPr txBox="1">
            <a:spLocks/>
          </p:cNvSpPr>
          <p:nvPr userDrawn="1"/>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tx2"/>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tx2"/>
              </a:solidFill>
              <a:latin typeface="Nokia Pure Text Light" panose="020B0304040602060303" pitchFamily="34" charset="0"/>
              <a:cs typeface="Arial" panose="020B0604020202020204" pitchFamily="34" charset="0"/>
            </a:endParaRPr>
          </a:p>
        </p:txBody>
      </p:sp>
      <p:sp>
        <p:nvSpPr>
          <p:cNvPr id="8"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rgbClr val="001135"/>
                </a:solidFill>
                <a:latin typeface="Nokia Pure Text Light" panose="020B0304040602060303" pitchFamily="34" charset="0"/>
                <a:cs typeface="Arial" panose="020B0604020202020204" pitchFamily="34" charset="0"/>
              </a:rPr>
              <a:t>© Nokia 2019</a:t>
            </a:r>
          </a:p>
        </p:txBody>
      </p:sp>
      <p:sp>
        <p:nvSpPr>
          <p:cNvPr id="11" name="TextBox 10"/>
          <p:cNvSpPr txBox="1"/>
          <p:nvPr userDrawn="1"/>
        </p:nvSpPr>
        <p:spPr>
          <a:xfrm>
            <a:off x="425731" y="4956412"/>
            <a:ext cx="1800000" cy="122237"/>
          </a:xfrm>
          <a:prstGeom prst="rect">
            <a:avLst/>
          </a:prstGeom>
          <a:noFill/>
        </p:spPr>
        <p:txBody>
          <a:bodyPr wrap="square" lIns="0" tIns="0" rIns="0" bIns="0" anchor="b">
            <a:spAutoFit/>
          </a:bodyPr>
          <a:lstStyle/>
          <a:p>
            <a:r>
              <a:rPr lang="en-GB" sz="800" kern="1200" dirty="0">
                <a:solidFill>
                  <a:schemeClr val="bg1"/>
                </a:solidFill>
                <a:latin typeface="Arial" charset="0"/>
                <a:ea typeface="ヒラギノ角ゴ Pro W3"/>
                <a:cs typeface="Arial" charset="0"/>
              </a:rPr>
              <a:t>PUBLIC</a:t>
            </a:r>
          </a:p>
        </p:txBody>
      </p:sp>
    </p:spTree>
    <p:extLst>
      <p:ext uri="{BB962C8B-B14F-4D97-AF65-F5344CB8AC3E}">
        <p14:creationId xmlns:p14="http://schemas.microsoft.com/office/powerpoint/2010/main" val="17904863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descr="iStock_000026180503X compressed group hiking.jpg"/>
          <p:cNvPicPr>
            <a:picLocks noChangeAspect="1"/>
          </p:cNvPicPr>
          <p:nvPr userDrawn="1"/>
        </p:nvPicPr>
        <p:blipFill>
          <a:blip r:embed="rId6"/>
          <a:stretch>
            <a:fillRect/>
          </a:stretch>
        </p:blipFill>
        <p:spPr>
          <a:xfrm>
            <a:off x="1" y="-8655"/>
            <a:ext cx="9143999" cy="5145758"/>
          </a:xfrm>
          <a:prstGeom prst="rect">
            <a:avLst/>
          </a:prstGeom>
        </p:spPr>
      </p:pic>
      <p:sp>
        <p:nvSpPr>
          <p:cNvPr id="6" name="Slide Number Placeholder 5"/>
          <p:cNvSpPr txBox="1">
            <a:spLocks/>
          </p:cNvSpPr>
          <p:nvPr userDrawn="1"/>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tx2"/>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tx2"/>
              </a:solidFill>
              <a:latin typeface="Nokia Pure Text Light" panose="020B0304040602060303" pitchFamily="34" charset="0"/>
              <a:cs typeface="Arial" panose="020B0604020202020204" pitchFamily="34" charset="0"/>
            </a:endParaRPr>
          </a:p>
        </p:txBody>
      </p:sp>
      <p:sp>
        <p:nvSpPr>
          <p:cNvPr id="7"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rgbClr val="001135"/>
                </a:solidFill>
                <a:latin typeface="Nokia Pure Text Light" panose="020B0304040602060303" pitchFamily="34" charset="0"/>
                <a:cs typeface="Arial" panose="020B0604020202020204" pitchFamily="34" charset="0"/>
              </a:rPr>
              <a:t>© Nokia 2019</a:t>
            </a:r>
          </a:p>
        </p:txBody>
      </p:sp>
      <p:sp>
        <p:nvSpPr>
          <p:cNvPr id="8" name="TextBox 7"/>
          <p:cNvSpPr txBox="1"/>
          <p:nvPr userDrawn="1"/>
        </p:nvSpPr>
        <p:spPr>
          <a:xfrm>
            <a:off x="425731" y="4956412"/>
            <a:ext cx="1800000" cy="122237"/>
          </a:xfrm>
          <a:prstGeom prst="rect">
            <a:avLst/>
          </a:prstGeom>
          <a:noFill/>
        </p:spPr>
        <p:txBody>
          <a:bodyPr wrap="square" lIns="0" tIns="0" rIns="0" bIns="0" anchor="b">
            <a:spAutoFit/>
          </a:bodyPr>
          <a:lstStyle/>
          <a:p>
            <a:r>
              <a:rPr lang="en-GB" sz="800" kern="1200" dirty="0">
                <a:solidFill>
                  <a:schemeClr val="bg1"/>
                </a:solidFill>
                <a:latin typeface="Arial" charset="0"/>
                <a:ea typeface="ヒラギノ角ゴ Pro W3"/>
                <a:cs typeface="Arial" charset="0"/>
              </a:rPr>
              <a:t>PUBLIC</a:t>
            </a:r>
          </a:p>
        </p:txBody>
      </p:sp>
    </p:spTree>
    <p:extLst>
      <p:ext uri="{BB962C8B-B14F-4D97-AF65-F5344CB8AC3E}">
        <p14:creationId xmlns:p14="http://schemas.microsoft.com/office/powerpoint/2010/main" val="38774952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49888" y="1027914"/>
            <a:ext cx="8587723" cy="3394472"/>
          </a:xfrm>
          <a:prstGeom prst="rect">
            <a:avLst/>
          </a:prstGeom>
        </p:spPr>
        <p:txBody>
          <a:bodyPr>
            <a:noAutofit/>
          </a:bodyPr>
          <a:lstStyle>
            <a:lvl1pPr>
              <a:buClr>
                <a:srgbClr val="404040"/>
              </a:buClr>
              <a:defRPr sz="1800">
                <a:solidFill>
                  <a:srgbClr val="404040"/>
                </a:solidFill>
                <a:latin typeface="Trebuchet MS" pitchFamily="34" charset="0"/>
              </a:defRPr>
            </a:lvl1pPr>
            <a:lvl2pPr marL="396875" indent="-165100">
              <a:buClr>
                <a:srgbClr val="404040"/>
              </a:buClr>
              <a:buFont typeface="Tahoma" pitchFamily="34" charset="0"/>
              <a:buChar char="­"/>
              <a:defRPr sz="1600">
                <a:solidFill>
                  <a:srgbClr val="404040"/>
                </a:solidFill>
                <a:latin typeface="Trebuchet MS" pitchFamily="34" charset="0"/>
              </a:defRPr>
            </a:lvl2pPr>
            <a:lvl3pPr marL="517525" indent="-120650">
              <a:buClr>
                <a:srgbClr val="404040"/>
              </a:buClr>
              <a:buFont typeface="Tahoma" pitchFamily="34" charset="0"/>
              <a:buChar char="­"/>
              <a:defRPr sz="1400">
                <a:solidFill>
                  <a:srgbClr val="404040"/>
                </a:solidFill>
                <a:latin typeface="Trebuchet MS" pitchFamily="34" charset="0"/>
              </a:defRPr>
            </a:lvl3pPr>
            <a:lvl4pPr marL="692150" indent="-122238">
              <a:buClr>
                <a:srgbClr val="404040"/>
              </a:buClr>
              <a:buFont typeface="Tahoma" pitchFamily="34" charset="0"/>
              <a:buChar char="­"/>
              <a:defRPr sz="1200">
                <a:solidFill>
                  <a:srgbClr val="404040"/>
                </a:solidFill>
                <a:latin typeface="Trebuchet MS" pitchFamily="34" charset="0"/>
              </a:defRPr>
            </a:lvl4pPr>
            <a:lvl5pPr marL="854075" indent="-104775">
              <a:buClr>
                <a:srgbClr val="404040"/>
              </a:buClr>
              <a:buFont typeface="Tahoma" pitchFamily="34" charset="0"/>
              <a:buChar char="­"/>
              <a:defRPr sz="1200">
                <a:solidFill>
                  <a:srgbClr val="404040"/>
                </a:solidFill>
                <a:latin typeface="Trebuchet MS"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hasCustomPrompt="1"/>
          </p:nvPr>
        </p:nvSpPr>
        <p:spPr>
          <a:xfrm>
            <a:off x="203261" y="173468"/>
            <a:ext cx="8645237" cy="857250"/>
          </a:xfrm>
        </p:spPr>
        <p:txBody>
          <a:bodyPr rtlCol="0">
            <a:noAutofit/>
          </a:bodyPr>
          <a:lstStyle>
            <a:lvl1pPr algn="l" defTabSz="914400" rtl="0" eaLnBrk="1" latinLnBrk="0" hangingPunct="1">
              <a:lnSpc>
                <a:spcPct val="100000"/>
              </a:lnSpc>
              <a:spcBef>
                <a:spcPct val="0"/>
              </a:spcBef>
              <a:buNone/>
              <a:defRPr kumimoji="0" lang="en-US" sz="2400" b="1" i="0" u="none" strike="noStrike" kern="1200" cap="all" spc="0" normalizeH="0" baseline="0" noProof="0" dirty="0">
                <a:ln>
                  <a:noFill/>
                </a:ln>
                <a:solidFill>
                  <a:srgbClr val="404040"/>
                </a:solidFill>
                <a:effectLst/>
                <a:uLnTx/>
                <a:uFillTx/>
                <a:latin typeface="Trebuchet MS" pitchFamily="34" charset="0"/>
                <a:ea typeface="+mj-ea"/>
                <a:cs typeface="+mj-cs"/>
              </a:defRPr>
            </a:lvl1pPr>
          </a:lstStyle>
          <a:p>
            <a:r>
              <a:rPr lang="en-US"/>
              <a:t>CLICK TO EDIT MASTER TITLE STYLE</a:t>
            </a:r>
            <a:endParaRPr lang="en-US" dirty="0"/>
          </a:p>
        </p:txBody>
      </p:sp>
      <p:sp>
        <p:nvSpPr>
          <p:cNvPr id="5" name="Footer Placeholder 4"/>
          <p:cNvSpPr>
            <a:spLocks noGrp="1"/>
          </p:cNvSpPr>
          <p:nvPr>
            <p:ph type="ftr" sz="quarter" idx="10"/>
          </p:nvPr>
        </p:nvSpPr>
        <p:spPr/>
        <p:txBody>
          <a:bodyPr/>
          <a:lstStyle/>
          <a:p>
            <a:endParaRPr lang="en-US" dirty="0">
              <a:cs typeface="Arial" panose="020B0604020202020204" pitchFamily="34" charset="0"/>
            </a:endParaRPr>
          </a:p>
        </p:txBody>
      </p:sp>
    </p:spTree>
    <p:extLst>
      <p:ext uri="{BB962C8B-B14F-4D97-AF65-F5344CB8AC3E}">
        <p14:creationId xmlns:p14="http://schemas.microsoft.com/office/powerpoint/2010/main" val="15097779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okia Blue Plain">
    <p:spTree>
      <p:nvGrpSpPr>
        <p:cNvPr id="1" name=""/>
        <p:cNvGrpSpPr/>
        <p:nvPr/>
      </p:nvGrpSpPr>
      <p:grpSpPr>
        <a:xfrm>
          <a:off x="0" y="0"/>
          <a:ext cx="0" cy="0"/>
          <a:chOff x="0" y="0"/>
          <a:chExt cx="0" cy="0"/>
        </a:xfrm>
      </p:grpSpPr>
      <p:pic>
        <p:nvPicPr>
          <p:cNvPr id="4" name="Picture 5"/>
          <p:cNvPicPr>
            <a:picLocks noChangeAspect="1"/>
          </p:cNvPicPr>
          <p:nvPr/>
        </p:nvPicPr>
        <p:blipFill>
          <a:blip r:embed="rId2"/>
          <a:srcRect/>
          <a:stretch>
            <a:fillRect/>
          </a:stretch>
        </p:blipFill>
        <p:spPr bwMode="auto">
          <a:xfrm>
            <a:off x="7958138" y="4672013"/>
            <a:ext cx="703262" cy="115887"/>
          </a:xfrm>
          <a:prstGeom prst="rect">
            <a:avLst/>
          </a:prstGeom>
          <a:noFill/>
          <a:ln w="9525">
            <a:noFill/>
            <a:miter lim="800000"/>
            <a:headEnd/>
            <a:tailEnd/>
          </a:ln>
        </p:spPr>
      </p:pic>
      <p:sp>
        <p:nvSpPr>
          <p:cNvPr id="5" name="Text Placeholder 4"/>
          <p:cNvSpPr>
            <a:spLocks noGrp="1"/>
          </p:cNvSpPr>
          <p:nvPr>
            <p:ph type="body" sz="quarter" idx="10" hasCustomPrompt="1"/>
          </p:nvPr>
        </p:nvSpPr>
        <p:spPr>
          <a:xfrm>
            <a:off x="417600" y="180000"/>
            <a:ext cx="8244000" cy="2253600"/>
          </a:xfrm>
        </p:spPr>
        <p:txBody>
          <a:bodyPr/>
          <a:lstStyle>
            <a:lvl1pPr marL="0" indent="0">
              <a:buNone/>
              <a:defRPr sz="6600">
                <a:solidFill>
                  <a:schemeClr val="tx2"/>
                </a:solidFill>
                <a:latin typeface="Nokia Pure Headline Ultra Light" panose="020B0204020202020204" pitchFamily="34" charset="0"/>
              </a:defRPr>
            </a:lvl1pPr>
          </a:lstStyle>
          <a:p>
            <a:pPr lvl="0"/>
            <a:r>
              <a:rPr lang="en-US" dirty="0"/>
              <a:t>click to edit Master text styles</a:t>
            </a:r>
          </a:p>
        </p:txBody>
      </p:sp>
      <p:sp>
        <p:nvSpPr>
          <p:cNvPr id="8" name="Text Placeholder 7"/>
          <p:cNvSpPr>
            <a:spLocks noGrp="1"/>
          </p:cNvSpPr>
          <p:nvPr>
            <p:ph type="body" sz="quarter" idx="11"/>
          </p:nvPr>
        </p:nvSpPr>
        <p:spPr>
          <a:xfrm>
            <a:off x="417600" y="2217675"/>
            <a:ext cx="8244000" cy="2030400"/>
          </a:xfrm>
        </p:spPr>
        <p:txBody>
          <a:bodyPr/>
          <a:lstStyle>
            <a:lvl1pPr marL="324000" indent="-324000">
              <a:buFont typeface="Arial" pitchFamily="34" charset="0"/>
              <a:buChar char="•"/>
              <a:tabLst/>
              <a:defRPr>
                <a:latin typeface="+mn-lt"/>
              </a:defRPr>
            </a:lvl1pPr>
            <a:lvl2pPr marL="230188" indent="0">
              <a:buNone/>
              <a:defRPr>
                <a:latin typeface="+mn-lt"/>
              </a:defRPr>
            </a:lvl2pPr>
            <a:lvl3pPr>
              <a:defRPr>
                <a:latin typeface="+mn-lt"/>
              </a:defRPr>
            </a:lvl3pPr>
            <a:lvl4pPr>
              <a:defRPr>
                <a:latin typeface="+mn-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2" name="Title 1"/>
          <p:cNvSpPr>
            <a:spLocks noGrp="1"/>
          </p:cNvSpPr>
          <p:nvPr>
            <p:ph type="title"/>
          </p:nvPr>
        </p:nvSpPr>
        <p:spPr>
          <a:xfrm>
            <a:off x="418120" y="279249"/>
            <a:ext cx="8229600" cy="311789"/>
          </a:xfrm>
        </p:spPr>
        <p:txBody>
          <a:bodyPr/>
          <a:lstStyle>
            <a:lvl1pPr>
              <a:defRPr/>
            </a:lvl1pPr>
          </a:lstStyle>
          <a:p>
            <a:r>
              <a:rPr lang="en-US"/>
              <a:t>Click to edit Master title style</a:t>
            </a:r>
            <a:endParaRPr lang="en-US" dirty="0"/>
          </a:p>
        </p:txBody>
      </p:sp>
      <p:sp>
        <p:nvSpPr>
          <p:cNvPr id="8"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
        <p:nvSpPr>
          <p:cNvPr id="12" name="Text Placeholder 10"/>
          <p:cNvSpPr>
            <a:spLocks noGrp="1"/>
          </p:cNvSpPr>
          <p:nvPr>
            <p:ph type="body" sz="quarter" idx="16"/>
          </p:nvPr>
        </p:nvSpPr>
        <p:spPr>
          <a:xfrm>
            <a:off x="423863" y="1087438"/>
            <a:ext cx="4032250" cy="2544762"/>
          </a:xfrm>
        </p:spPr>
        <p:txBody>
          <a:bodyPr/>
          <a:lstStyle>
            <a:lvl1pPr marL="0" indent="0">
              <a:spcAft>
                <a:spcPts val="600"/>
              </a:spcAft>
              <a:buFont typeface="Arial" pitchFamily="34" charset="0"/>
              <a:buNone/>
              <a:defRPr baseline="0"/>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08513" y="1087310"/>
            <a:ext cx="4032250" cy="2544762"/>
          </a:xfrm>
        </p:spPr>
        <p:txBody>
          <a:bodyPr/>
          <a:lstStyle>
            <a:lvl1pPr marL="0" indent="0">
              <a:spcAft>
                <a:spcPts val="600"/>
              </a:spcAft>
              <a:buNone/>
              <a:defRPr baseline="0"/>
            </a:lvl1pPr>
            <a:lvl2pPr marL="0" indent="0">
              <a:spcAft>
                <a:spcPts val="600"/>
              </a:spcAft>
              <a:buNone/>
              <a:defRPr/>
            </a:lvl2pPr>
            <a:lvl3pPr>
              <a:buNone/>
              <a:defRPr/>
            </a:lvl3pPr>
            <a:lvl4pPr>
              <a:buNone/>
              <a:defRPr/>
            </a:lvl4pPr>
            <a:lvl5pPr>
              <a:buNone/>
              <a:defRPr/>
            </a:lvl5pPr>
          </a:lstStyle>
          <a:p>
            <a:pPr lvl="0"/>
            <a:r>
              <a:rPr lang="en-US"/>
              <a:t>Click to edit Master text styles</a:t>
            </a:r>
          </a:p>
          <a:p>
            <a:pPr lvl="1"/>
            <a:r>
              <a:rPr lang="en-US"/>
              <a:t>Second level</a:t>
            </a:r>
          </a:p>
        </p:txBody>
      </p:sp>
      <p:pic>
        <p:nvPicPr>
          <p:cNvPr id="6" name="Picture 5"/>
          <p:cNvPicPr>
            <a:picLocks noChangeAspect="1" noChangeArrowheads="1"/>
          </p:cNvPicPr>
          <p:nvPr userDrawn="1"/>
        </p:nvPicPr>
        <p:blipFill>
          <a:blip r:embed="rId2"/>
          <a:srcRect/>
          <a:stretch>
            <a:fillRect/>
          </a:stretch>
        </p:blipFill>
        <p:spPr bwMode="auto">
          <a:xfrm>
            <a:off x="8059799" y="218365"/>
            <a:ext cx="647472" cy="668740"/>
          </a:xfrm>
          <a:prstGeom prst="rect">
            <a:avLst/>
          </a:prstGeom>
          <a:noFill/>
          <a:ln w="9525">
            <a:noFill/>
            <a:miter lim="800000"/>
            <a:headEnd/>
            <a:tailEnd/>
          </a:ln>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Nokia Blue Plain">
    <p:spTree>
      <p:nvGrpSpPr>
        <p:cNvPr id="1" name=""/>
        <p:cNvGrpSpPr/>
        <p:nvPr/>
      </p:nvGrpSpPr>
      <p:grpSpPr>
        <a:xfrm>
          <a:off x="0" y="0"/>
          <a:ext cx="0" cy="0"/>
          <a:chOff x="0" y="0"/>
          <a:chExt cx="0" cy="0"/>
        </a:xfrm>
      </p:grpSpPr>
      <p:pic>
        <p:nvPicPr>
          <p:cNvPr id="3" name="Picture 5"/>
          <p:cNvPicPr>
            <a:picLocks noChangeAspect="1"/>
          </p:cNvPicPr>
          <p:nvPr/>
        </p:nvPicPr>
        <p:blipFill>
          <a:blip r:embed="rId2"/>
          <a:srcRect/>
          <a:stretch>
            <a:fillRect/>
          </a:stretch>
        </p:blipFill>
        <p:spPr bwMode="auto">
          <a:xfrm>
            <a:off x="7958138" y="4672013"/>
            <a:ext cx="703262" cy="115887"/>
          </a:xfrm>
          <a:prstGeom prst="rect">
            <a:avLst/>
          </a:prstGeom>
          <a:noFill/>
          <a:ln w="9525">
            <a:noFill/>
            <a:miter lim="800000"/>
            <a:headEnd/>
            <a:tailEnd/>
          </a:ln>
        </p:spPr>
      </p:pic>
      <p:sp>
        <p:nvSpPr>
          <p:cNvPr id="5" name="Text Placeholder 4"/>
          <p:cNvSpPr>
            <a:spLocks noGrp="1"/>
          </p:cNvSpPr>
          <p:nvPr>
            <p:ph type="body" sz="quarter" idx="10"/>
          </p:nvPr>
        </p:nvSpPr>
        <p:spPr>
          <a:xfrm>
            <a:off x="417600" y="288000"/>
            <a:ext cx="8244000" cy="2253600"/>
          </a:xfrm>
        </p:spPr>
        <p:txBody>
          <a:bodyPr/>
          <a:lstStyle>
            <a:lvl1pPr marL="0" indent="0">
              <a:spcAft>
                <a:spcPts val="1200"/>
              </a:spcAft>
              <a:buNone/>
              <a:defRPr sz="4400" baseline="0">
                <a:solidFill>
                  <a:schemeClr val="tx2"/>
                </a:solidFill>
                <a:latin typeface="+mj-lt"/>
              </a:defRPr>
            </a:lvl1pPr>
            <a:lvl2pPr>
              <a:defRPr>
                <a:latin typeface="+mj-lt"/>
              </a:defRPr>
            </a:lvl2pPr>
            <a:lvl3pPr>
              <a:defRPr>
                <a:latin typeface="+mj-lt"/>
              </a:defRPr>
            </a:lvl3pPr>
          </a:lstStyle>
          <a:p>
            <a:pPr lvl="0"/>
            <a:r>
              <a:rPr lang="en-US" dirty="0"/>
              <a:t>Click to edit Master text styles</a:t>
            </a:r>
          </a:p>
          <a:p>
            <a:pPr lvl="1"/>
            <a:r>
              <a:rPr lang="en-US" dirty="0"/>
              <a:t>Second level</a:t>
            </a:r>
          </a:p>
          <a:p>
            <a:pPr lvl="2"/>
            <a:r>
              <a:rPr lang="en-US" dirty="0"/>
              <a:t>Third level</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Nokia Blue Plain">
    <p:spTree>
      <p:nvGrpSpPr>
        <p:cNvPr id="1" name=""/>
        <p:cNvGrpSpPr/>
        <p:nvPr/>
      </p:nvGrpSpPr>
      <p:grpSpPr>
        <a:xfrm>
          <a:off x="0" y="0"/>
          <a:ext cx="0" cy="0"/>
          <a:chOff x="0" y="0"/>
          <a:chExt cx="0" cy="0"/>
        </a:xfrm>
      </p:grpSpPr>
      <p:pic>
        <p:nvPicPr>
          <p:cNvPr id="2" name="Picture 5"/>
          <p:cNvPicPr>
            <a:picLocks noChangeAspect="1"/>
          </p:cNvPicPr>
          <p:nvPr/>
        </p:nvPicPr>
        <p:blipFill>
          <a:blip r:embed="rId2"/>
          <a:srcRect/>
          <a:stretch>
            <a:fillRect/>
          </a:stretch>
        </p:blipFill>
        <p:spPr bwMode="auto">
          <a:xfrm>
            <a:off x="7958138" y="4672013"/>
            <a:ext cx="703262" cy="115887"/>
          </a:xfrm>
          <a:prstGeom prst="rect">
            <a:avLst/>
          </a:prstGeom>
          <a:noFill/>
          <a:ln w="9525">
            <a:noFill/>
            <a:miter lim="800000"/>
            <a:headEnd/>
            <a:tailEnd/>
          </a:ln>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Nokia Blue Separator">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a:stretch>
            <a:fillRect/>
          </a:stretch>
        </p:blipFill>
        <p:spPr bwMode="auto">
          <a:xfrm>
            <a:off x="3708400" y="2430463"/>
            <a:ext cx="1727200" cy="282575"/>
          </a:xfrm>
          <a:prstGeom prst="rect">
            <a:avLst/>
          </a:prstGeom>
          <a:noFill/>
          <a:ln w="9525">
            <a:noFill/>
            <a:miter lim="800000"/>
            <a:headEnd/>
            <a:tailEnd/>
          </a:ln>
        </p:spPr>
      </p:pic>
      <p:pic>
        <p:nvPicPr>
          <p:cNvPr id="3" name="Picture 3"/>
          <p:cNvPicPr>
            <a:picLocks noChangeAspect="1"/>
          </p:cNvPicPr>
          <p:nvPr userDrawn="1"/>
        </p:nvPicPr>
        <p:blipFill>
          <a:blip r:embed="rId2"/>
          <a:srcRect/>
          <a:stretch>
            <a:fillRect/>
          </a:stretch>
        </p:blipFill>
        <p:spPr bwMode="auto">
          <a:xfrm>
            <a:off x="3708400" y="2430463"/>
            <a:ext cx="1727200" cy="282575"/>
          </a:xfrm>
          <a:prstGeom prst="rect">
            <a:avLst/>
          </a:prstGeom>
          <a:noFill/>
          <a:ln w="9525">
            <a:noFill/>
            <a:miter lim="800000"/>
            <a:headEnd/>
            <a:tailEnd/>
          </a:ln>
        </p:spPr>
      </p:pic>
      <p:pic>
        <p:nvPicPr>
          <p:cNvPr id="4" name="Picture 3" descr="Nokia image selection-02.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3999" cy="5146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obj" preserve="1">
  <p:cSld name="12_Title and Content">
    <p:spTree>
      <p:nvGrpSpPr>
        <p:cNvPr id="1" name=""/>
        <p:cNvGrpSpPr/>
        <p:nvPr/>
      </p:nvGrpSpPr>
      <p:grpSpPr>
        <a:xfrm>
          <a:off x="0" y="0"/>
          <a:ext cx="0" cy="0"/>
          <a:chOff x="0" y="0"/>
          <a:chExt cx="0" cy="0"/>
        </a:xfrm>
      </p:grpSpPr>
      <p:pic>
        <p:nvPicPr>
          <p:cNvPr id="10" name="Picture 3" descr="Nokia image selection-02.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3999" cy="5146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5" name="think-cell Slide" r:id="rId5" imgW="216" imgH="216" progId="TCLayout.ActiveDocument.1">
                  <p:embed/>
                </p:oleObj>
              </mc:Choice>
              <mc:Fallback>
                <p:oleObj name="think-cell Slide" r:id="rId5" imgW="216" imgH="216"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35200" y="4806239"/>
            <a:ext cx="690379" cy="112048"/>
          </a:xfrm>
          <a:prstGeom prst="rect">
            <a:avLst/>
          </a:prstGeom>
        </p:spPr>
      </p:pic>
      <p:sp>
        <p:nvSpPr>
          <p:cNvPr id="7" name="Slide Number Placeholder 5"/>
          <p:cNvSpPr txBox="1">
            <a:spLocks/>
          </p:cNvSpPr>
          <p:nvPr userDrawn="1"/>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a:fld id="{A2CF1F6A-180B-4AFE-A171-EB8CE1EAE602}" type="slidenum">
              <a:rPr lang="en-GB" altLang="en-US" sz="800" smtClean="0">
                <a:solidFill>
                  <a:srgbClr val="001135"/>
                </a:solidFill>
                <a:latin typeface="Nokia Pure Text Light" panose="020B0304040602060303" pitchFamily="34" charset="0"/>
                <a:cs typeface="Arial" panose="020B0604020202020204" pitchFamily="34" charset="0"/>
              </a:rPr>
              <a:pPr defTabSz="914400"/>
              <a:t>‹#›</a:t>
            </a:fld>
            <a:endParaRPr lang="en-GB" altLang="en-US" sz="1000" dirty="0">
              <a:solidFill>
                <a:srgbClr val="001135"/>
              </a:solidFill>
              <a:latin typeface="Nokia Pure Text Light" panose="020B0304040602060303" pitchFamily="34" charset="0"/>
              <a:cs typeface="Arial" panose="020B0604020202020204" pitchFamily="34" charset="0"/>
            </a:endParaRPr>
          </a:p>
        </p:txBody>
      </p:sp>
      <p:sp>
        <p:nvSpPr>
          <p:cNvPr id="8"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r>
              <a:rPr lang="en-GB" altLang="en-US" sz="800" dirty="0">
                <a:solidFill>
                  <a:srgbClr val="001135"/>
                </a:solidFill>
                <a:latin typeface="Nokia Pure Text Light" panose="020B0304040602060303" pitchFamily="34" charset="0"/>
                <a:cs typeface="Arial" panose="020B0604020202020204" pitchFamily="34" charset="0"/>
              </a:rPr>
              <a:t>© Nokia 2019</a:t>
            </a:r>
          </a:p>
        </p:txBody>
      </p:sp>
      <p:sp>
        <p:nvSpPr>
          <p:cNvPr id="11" name="TextBox 10"/>
          <p:cNvSpPr txBox="1"/>
          <p:nvPr userDrawn="1"/>
        </p:nvSpPr>
        <p:spPr>
          <a:xfrm>
            <a:off x="425731" y="4956412"/>
            <a:ext cx="1800000" cy="122237"/>
          </a:xfrm>
          <a:prstGeom prst="rect">
            <a:avLst/>
          </a:prstGeom>
          <a:noFill/>
        </p:spPr>
        <p:txBody>
          <a:bodyPr wrap="square" lIns="0" tIns="0" rIns="0" bIns="0" anchor="b">
            <a:spAutoFit/>
          </a:bodyPr>
          <a:lstStyle/>
          <a:p>
            <a:r>
              <a:rPr lang="en-GB" sz="800" dirty="0">
                <a:solidFill>
                  <a:srgbClr val="001135"/>
                </a:solidFill>
                <a:latin typeface="Nokia Pure Text Light"/>
                <a:cs typeface="Arial" charset="0"/>
              </a:rPr>
              <a:t>Nokia internal use</a:t>
            </a:r>
          </a:p>
        </p:txBody>
      </p:sp>
    </p:spTree>
    <p:extLst>
      <p:ext uri="{BB962C8B-B14F-4D97-AF65-F5344CB8AC3E}">
        <p14:creationId xmlns:p14="http://schemas.microsoft.com/office/powerpoint/2010/main" val="34588203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Nokia Whit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latin typeface="+mj-lt"/>
              </a:defRPr>
            </a:lvl1pPr>
          </a:lstStyle>
          <a:p>
            <a:r>
              <a:rPr lang="en-US" dirty="0"/>
              <a:t>Click to edit Master title style</a:t>
            </a:r>
          </a:p>
        </p:txBody>
      </p:sp>
      <p:sp>
        <p:nvSpPr>
          <p:cNvPr id="6"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1"/>
                </a:solidFill>
                <a:latin typeface="+mj-lt"/>
              </a:defRPr>
            </a:lvl1pPr>
          </a:lstStyle>
          <a:p>
            <a:pPr lvl="0"/>
            <a:r>
              <a:rPr lang="en-US" dirty="0"/>
              <a:t>Click to edit Master text styles</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Nokia White 1">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Aft>
                <a:spcPts val="600"/>
              </a:spcAft>
              <a:defRPr baseline="0"/>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1"/>
          <p:cNvSpPr>
            <a:spLocks noGrp="1"/>
          </p:cNvSpPr>
          <p:nvPr>
            <p:ph type="title"/>
          </p:nvPr>
        </p:nvSpPr>
        <p:spPr>
          <a:xfrm>
            <a:off x="418120" y="279249"/>
            <a:ext cx="8229600" cy="311789"/>
          </a:xfrm>
        </p:spPr>
        <p:txBody>
          <a:bodyPr/>
          <a:lstStyle>
            <a:lvl1pPr>
              <a:defRPr/>
            </a:lvl1pPr>
          </a:lstStyle>
          <a:p>
            <a:r>
              <a:rPr lang="en-US"/>
              <a:t>Click to edit Master title style</a:t>
            </a:r>
            <a:endParaRPr lang="en-US" dirty="0"/>
          </a:p>
        </p:txBody>
      </p:sp>
      <p:sp>
        <p:nvSpPr>
          <p:cNvPr id="6"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pic>
        <p:nvPicPr>
          <p:cNvPr id="7" name="Picture 5"/>
          <p:cNvPicPr>
            <a:picLocks noChangeAspect="1" noChangeArrowheads="1"/>
          </p:cNvPicPr>
          <p:nvPr userDrawn="1"/>
        </p:nvPicPr>
        <p:blipFill>
          <a:blip r:embed="rId2"/>
          <a:srcRect/>
          <a:stretch>
            <a:fillRect/>
          </a:stretch>
        </p:blipFill>
        <p:spPr bwMode="auto">
          <a:xfrm>
            <a:off x="8059799" y="218365"/>
            <a:ext cx="647472" cy="668740"/>
          </a:xfrm>
          <a:prstGeom prst="rect">
            <a:avLst/>
          </a:prstGeom>
          <a:noFill/>
          <a:ln w="9525">
            <a:noFill/>
            <a:miter lim="800000"/>
            <a:headEnd/>
            <a:tailEnd/>
          </a:ln>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6_6-1 Nokia Divider Master title">
    <p:spTree>
      <p:nvGrpSpPr>
        <p:cNvPr id="1" name=""/>
        <p:cNvGrpSpPr/>
        <p:nvPr/>
      </p:nvGrpSpPr>
      <p:grpSpPr>
        <a:xfrm>
          <a:off x="0" y="0"/>
          <a:ext cx="0" cy="0"/>
          <a:chOff x="0" y="0"/>
          <a:chExt cx="0" cy="0"/>
        </a:xfrm>
      </p:grpSpPr>
      <p:pic>
        <p:nvPicPr>
          <p:cNvPr id="6" name="Picture 5" descr="Nokia_IM_Surf01_Ethereal_HR_16x9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3" name="TextBox 2"/>
          <p:cNvSpPr txBox="1"/>
          <p:nvPr userDrawn="1"/>
        </p:nvSpPr>
        <p:spPr>
          <a:xfrm>
            <a:off x="755776" y="4816800"/>
            <a:ext cx="1800000" cy="122237"/>
          </a:xfrm>
          <a:prstGeom prst="rect">
            <a:avLst/>
          </a:prstGeom>
          <a:noFill/>
        </p:spPr>
        <p:txBody>
          <a:bodyPr wrap="square" lIns="0" tIns="0" rIns="0" bIns="0" anchor="b">
            <a:spAutoFit/>
          </a:bodyPr>
          <a:lstStyle/>
          <a:p>
            <a:pPr defTabSz="914400" fontAlgn="auto">
              <a:spcBef>
                <a:spcPts val="0"/>
              </a:spcBef>
              <a:spcAft>
                <a:spcPts val="0"/>
              </a:spcAft>
            </a:pPr>
            <a:r>
              <a:rPr lang="en-GB" sz="800" dirty="0">
                <a:solidFill>
                  <a:srgbClr val="4D5766"/>
                </a:solidFill>
                <a:latin typeface="Nokia Pure Text" panose="020B0503020202020204" pitchFamily="34" charset="0"/>
                <a:ea typeface="Nokia Pure Text" panose="020B0503020202020204" pitchFamily="34" charset="0"/>
                <a:cs typeface="Arial" charset="0"/>
              </a:rPr>
              <a:t>© 2019 Nokia</a:t>
            </a:r>
          </a:p>
        </p:txBody>
      </p:sp>
      <p:sp>
        <p:nvSpPr>
          <p:cNvPr id="4" name="Slide Number Placeholder 5"/>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71245D3D-131A-47D1-B100-B33219007AD2}" type="slidenum">
              <a:rPr lang="en-GB" sz="800" smtClean="0">
                <a:solidFill>
                  <a:srgbClr val="4D5766"/>
                </a:solidFill>
                <a:latin typeface="Nokia Pure Text" panose="020B0503020202020204" pitchFamily="34" charset="0"/>
                <a:ea typeface="Nokia Pure Text" panose="020B0503020202020204" pitchFamily="34" charset="0"/>
                <a:cs typeface="Arial" panose="020B0604020202020204" pitchFamily="34" charset="0"/>
              </a:rPr>
              <a:pPr fontAlgn="auto">
                <a:spcBef>
                  <a:spcPts val="0"/>
                </a:spcBef>
                <a:spcAft>
                  <a:spcPts val="0"/>
                </a:spcAft>
                <a:defRPr/>
              </a:pPr>
              <a:t>‹#›</a:t>
            </a:fld>
            <a:endParaRPr lang="en-GB" dirty="0">
              <a:solidFill>
                <a:srgbClr val="4D5766"/>
              </a:solidFill>
              <a:latin typeface="Nokia Pure Text" panose="020B0503020202020204" pitchFamily="34" charset="0"/>
              <a:ea typeface="Nokia Pure Text" panose="020B0503020202020204" pitchFamily="34" charset="0"/>
              <a:cs typeface="Arial" panose="020B0604020202020204" pitchFamily="34" charset="0"/>
            </a:endParaRPr>
          </a:p>
        </p:txBody>
      </p:sp>
      <p:sp>
        <p:nvSpPr>
          <p:cNvPr id="5"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bg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GB">
                <a:solidFill>
                  <a:srgbClr val="4D5766"/>
                </a:solidFill>
                <a:cs typeface="Arial" panose="020B0604020202020204" pitchFamily="34" charset="0"/>
              </a:rPr>
              <a:t>Public</a:t>
            </a:r>
            <a:endParaRPr lang="en-US" dirty="0">
              <a:solidFill>
                <a:srgbClr val="4D5766"/>
              </a:solidFill>
              <a:cs typeface="Arial" panose="020B0604020202020204" pitchFamily="34" charset="0"/>
            </a:endParaRPr>
          </a:p>
        </p:txBody>
      </p:sp>
    </p:spTree>
    <p:extLst>
      <p:ext uri="{BB962C8B-B14F-4D97-AF65-F5344CB8AC3E}">
        <p14:creationId xmlns:p14="http://schemas.microsoft.com/office/powerpoint/2010/main" val="193210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Nokia White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47D49C0-FADC-45A9-874D-CFA656171F50}"/>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8"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047D49C0-FADC-45A9-874D-CFA656171F5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1597E9D-D0FF-493A-9B64-44FBB455DFD7}"/>
              </a:ext>
            </a:extLst>
          </p:cNvPr>
          <p:cNvSpPr/>
          <p:nvPr userDrawn="1">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fontAlgn="auto">
              <a:lnSpc>
                <a:spcPct val="100000"/>
              </a:lnSpc>
              <a:spcBef>
                <a:spcPct val="0"/>
              </a:spcBef>
              <a:spcAft>
                <a:spcPct val="0"/>
              </a:spcAft>
            </a:pPr>
            <a:endParaRPr lang="en-GB" sz="2000" b="0" i="0" baseline="0" dirty="0">
              <a:solidFill>
                <a:schemeClr val="bg1"/>
              </a:solidFill>
              <a:latin typeface="Nokia Pure Headline Light" panose="020B0304040602060303" pitchFamily="34" charset="0"/>
              <a:cs typeface="Arial" panose="020B0604020202020204" pitchFamily="34" charset="0"/>
              <a:sym typeface="Nokia Pure Headline Light" panose="020B0304040602060303" pitchFamily="34" charset="0"/>
            </a:endParaRPr>
          </a:p>
        </p:txBody>
      </p:sp>
      <p:sp>
        <p:nvSpPr>
          <p:cNvPr id="8" name="Text Placeholder 10"/>
          <p:cNvSpPr>
            <a:spLocks noGrp="1"/>
          </p:cNvSpPr>
          <p:nvPr>
            <p:ph type="body" sz="quarter" idx="16" hasCustomPrompt="1"/>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GB"/>
              <a:t>Click to edit Master text styles</a:t>
            </a:r>
            <a:endParaRPr lang="en-GB" dirty="0"/>
          </a:p>
        </p:txBody>
      </p:sp>
      <p:sp>
        <p:nvSpPr>
          <p:cNvPr id="9"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dirty="0"/>
              <a:t>Click to </a:t>
            </a:r>
            <a:r>
              <a:rPr lang="en-GB"/>
              <a:t>edit headline</a:t>
            </a:r>
            <a:endParaRPr lang="en-GB" dirty="0"/>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GB">
                <a:cs typeface="Arial" panose="020B0604020202020204" pitchFamily="34" charset="0"/>
              </a:rPr>
              <a:t>Public</a:t>
            </a:r>
            <a:endParaRPr lang="en-GB" dirty="0">
              <a:cs typeface="Arial" panose="020B0604020202020204" pitchFamily="34" charset="0"/>
            </a:endParaRPr>
          </a:p>
        </p:txBody>
      </p:sp>
      <p:sp>
        <p:nvSpPr>
          <p:cNvPr id="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3276988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Nokia White 1">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417512" y="279399"/>
            <a:ext cx="6840000" cy="3528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lang="en-US" sz="6600" b="0" kern="1200" dirty="0" smtClean="0">
                <a:solidFill>
                  <a:schemeClr val="bg1"/>
                </a:solidFill>
                <a:latin typeface="Nokia Pure Headline Ultra Light" pitchFamily="34" charset="0"/>
                <a:ea typeface="ヒラギノ角ゴ Pro W3" charset="0"/>
                <a:cs typeface="Arial"/>
              </a:defRPr>
            </a:lvl1pPr>
          </a:lstStyle>
          <a:p>
            <a:pPr lvl="0" algn="l" defTabSz="457189" rtl="0" eaLnBrk="1" fontAlgn="base" hangingPunct="1">
              <a:spcBef>
                <a:spcPct val="0"/>
              </a:spcBef>
              <a:spcAft>
                <a:spcPct val="0"/>
              </a:spcAft>
            </a:pPr>
            <a:r>
              <a:rPr lang="en-US"/>
              <a:t>Click to edit Master title style</a:t>
            </a:r>
          </a:p>
        </p:txBody>
      </p:sp>
      <p:sp>
        <p:nvSpPr>
          <p:cNvPr id="5"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Public</a:t>
            </a:r>
          </a:p>
        </p:txBody>
      </p:sp>
    </p:spTree>
    <p:extLst>
      <p:ext uri="{BB962C8B-B14F-4D97-AF65-F5344CB8AC3E}">
        <p14:creationId xmlns:p14="http://schemas.microsoft.com/office/powerpoint/2010/main" val="23435942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bg1"/>
                </a:solidFill>
                <a:latin typeface="+mj-lt"/>
              </a:defRPr>
            </a:lvl1pPr>
          </a:lstStyle>
          <a:p>
            <a:r>
              <a:rPr lang="en-GB"/>
              <a:t>Click to edit headline</a:t>
            </a:r>
            <a:endParaRPr lang="en-US"/>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Public</a:t>
            </a:r>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41456942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6"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pic>
        <p:nvPicPr>
          <p:cNvPr id="4" name="Picture 5"/>
          <p:cNvPicPr>
            <a:picLocks noChangeAspect="1" noChangeArrowheads="1"/>
          </p:cNvPicPr>
          <p:nvPr userDrawn="1"/>
        </p:nvPicPr>
        <p:blipFill>
          <a:blip r:embed="rId2"/>
          <a:srcRect/>
          <a:stretch>
            <a:fillRect/>
          </a:stretch>
        </p:blipFill>
        <p:spPr bwMode="auto">
          <a:xfrm>
            <a:off x="8059799" y="218365"/>
            <a:ext cx="647472" cy="668740"/>
          </a:xfrm>
          <a:prstGeom prst="rect">
            <a:avLst/>
          </a:prstGeom>
          <a:noFill/>
          <a:ln w="9525">
            <a:noFill/>
            <a:miter lim="800000"/>
            <a:headEnd/>
            <a:tailEnd/>
          </a:ln>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47D49C0-FADC-45A9-874D-CFA656171F50}"/>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9" name="think-cell Slide" r:id="rId4" imgW="270" imgH="270" progId="TCLayout.ActiveDocument.1">
                  <p:embed/>
                </p:oleObj>
              </mc:Choice>
              <mc:Fallback>
                <p:oleObj name="think-cell Slide" r:id="rId4" imgW="270" imgH="270" progId="TCLayout.ActiveDocument.1">
                  <p:embed/>
                  <p:pic>
                    <p:nvPicPr>
                      <p:cNvPr id="2" name="Object 1" hidden="1">
                        <a:extLst>
                          <a:ext uri="{FF2B5EF4-FFF2-40B4-BE49-F238E27FC236}">
                            <a16:creationId xmlns:a16="http://schemas.microsoft.com/office/drawing/2014/main" id="{047D49C0-FADC-45A9-874D-CFA656171F5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9"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a:t>Click to edit headline</a:t>
            </a:r>
            <a:endParaRPr lang="en-US"/>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Public</a:t>
            </a:r>
          </a:p>
        </p:txBody>
      </p:sp>
      <p:sp>
        <p:nvSpPr>
          <p:cNvPr id="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094083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bg1"/>
                </a:solidFill>
              </a:defRPr>
            </a:lvl1pPr>
            <a:lvl2pPr marL="460789" algn="l">
              <a:defRPr sz="1400">
                <a:solidFill>
                  <a:schemeClr val="bg1"/>
                </a:solidFill>
              </a:defRPr>
            </a:lvl2pPr>
            <a:lvl3pPr marL="691183" indent="-230394" algn="l">
              <a:defRPr sz="1200">
                <a:solidFill>
                  <a:schemeClr val="bg1"/>
                </a:solidFill>
              </a:defRPr>
            </a:lvl3pPr>
            <a:lvl4pPr marL="921577" algn="l">
              <a:defRPr sz="1000">
                <a:solidFill>
                  <a:schemeClr val="bg1"/>
                </a:solidFill>
              </a:defRPr>
            </a:lvl4pPr>
            <a:lvl5pPr marL="1151972" algn="l">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noProof="0"/>
              <a:t>Click to edit headline</a:t>
            </a:r>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GB">
                <a:cs typeface="Arial" panose="020B0604020202020204" pitchFamily="34" charset="0"/>
              </a:rPr>
              <a:t>Public</a:t>
            </a:r>
          </a:p>
        </p:txBody>
      </p:sp>
      <p:sp>
        <p:nvSpPr>
          <p:cNvPr id="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7259446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40104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4716000" y="1080000"/>
            <a:ext cx="4010400"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a:t>Click to edit headline</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Public</a:t>
            </a:r>
          </a:p>
        </p:txBody>
      </p:sp>
      <p:sp>
        <p:nvSpPr>
          <p:cNvPr id="9"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1550869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bg1"/>
                </a:solidFill>
              </a:defRPr>
            </a:lvl1pPr>
            <a:lvl2pPr marL="460789">
              <a:defRPr sz="1400">
                <a:solidFill>
                  <a:schemeClr val="bg1"/>
                </a:solidFill>
              </a:defRPr>
            </a:lvl2pPr>
            <a:lvl3pPr marL="691183" indent="-230394">
              <a:defRPr sz="1200">
                <a:solidFill>
                  <a:schemeClr val="bg1"/>
                </a:solidFill>
              </a:defRPr>
            </a:lvl3pPr>
            <a:lvl4pPr marL="921577">
              <a:defRPr sz="1000">
                <a:solidFill>
                  <a:schemeClr val="bg1"/>
                </a:solidFill>
              </a:defRPr>
            </a:lvl4pPr>
            <a:lvl5pPr marL="1151972">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bg1"/>
                </a:solidFill>
              </a:defRPr>
            </a:lvl1pPr>
            <a:lvl2pPr marL="460789">
              <a:defRPr sz="1400">
                <a:solidFill>
                  <a:schemeClr val="bg1"/>
                </a:solidFill>
              </a:defRPr>
            </a:lvl2pPr>
            <a:lvl3pPr marL="691183" indent="-230394">
              <a:defRPr sz="1200">
                <a:solidFill>
                  <a:schemeClr val="bg1"/>
                </a:solidFill>
              </a:defRPr>
            </a:lvl3pPr>
            <a:lvl4pPr marL="921577">
              <a:defRPr sz="1000">
                <a:solidFill>
                  <a:schemeClr val="bg1"/>
                </a:solidFill>
              </a:defRPr>
            </a:lvl4pPr>
            <a:lvl5pPr marL="1151972">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a:t>Click to edit headline</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Public</a:t>
            </a:r>
          </a:p>
        </p:txBody>
      </p:sp>
      <p:sp>
        <p:nvSpPr>
          <p:cNvPr id="9"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2059802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6120001" y="1080000"/>
            <a:ext cx="2606312"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8" name="Text Placeholder 10"/>
          <p:cNvSpPr>
            <a:spLocks noGrp="1"/>
          </p:cNvSpPr>
          <p:nvPr>
            <p:ph type="body" sz="quarter" idx="19"/>
          </p:nvPr>
        </p:nvSpPr>
        <p:spPr>
          <a:xfrm>
            <a:off x="3261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1"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a:t>Click to edit headline</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Public</a:t>
            </a:r>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6619442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bg1"/>
                </a:solidFill>
              </a:defRPr>
            </a:lvl1pPr>
            <a:lvl2pPr marL="460789">
              <a:defRPr sz="1400">
                <a:solidFill>
                  <a:schemeClr val="bg1"/>
                </a:solidFill>
              </a:defRPr>
            </a:lvl2pPr>
            <a:lvl3pPr marL="691183" indent="-230394">
              <a:defRPr sz="1200">
                <a:solidFill>
                  <a:schemeClr val="bg1"/>
                </a:solidFill>
              </a:defRPr>
            </a:lvl3pPr>
            <a:lvl4pPr marL="921577">
              <a:defRPr sz="1000">
                <a:solidFill>
                  <a:schemeClr val="bg1"/>
                </a:solidFill>
              </a:defRPr>
            </a:lvl4pPr>
            <a:lvl5pPr marL="1151972">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bg1"/>
                </a:solidFill>
              </a:defRPr>
            </a:lvl1pPr>
            <a:lvl2pPr marL="460789">
              <a:defRPr sz="1400">
                <a:solidFill>
                  <a:schemeClr val="bg1"/>
                </a:solidFill>
              </a:defRPr>
            </a:lvl2pPr>
            <a:lvl3pPr marL="691183" indent="-230394">
              <a:defRPr sz="1200">
                <a:solidFill>
                  <a:schemeClr val="bg1"/>
                </a:solidFill>
              </a:defRPr>
            </a:lvl3pPr>
            <a:lvl4pPr marL="921577">
              <a:defRPr sz="1000">
                <a:solidFill>
                  <a:schemeClr val="bg1"/>
                </a:solidFill>
              </a:defRPr>
            </a:lvl4pPr>
            <a:lvl5pPr marL="1151972">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2"/>
          <p:cNvSpPr>
            <a:spLocks noGrp="1"/>
          </p:cNvSpPr>
          <p:nvPr>
            <p:ph sz="quarter" idx="20"/>
          </p:nvPr>
        </p:nvSpPr>
        <p:spPr>
          <a:xfrm>
            <a:off x="6120001" y="1080000"/>
            <a:ext cx="2606312" cy="3560400"/>
          </a:xfrm>
          <a:prstGeom prst="rect">
            <a:avLst/>
          </a:prstGeom>
        </p:spPr>
        <p:txBody>
          <a:bodyPr lIns="0" tIns="0" rIns="0" bIns="0"/>
          <a:lstStyle>
            <a:lvl1pPr>
              <a:defRPr sz="1600">
                <a:solidFill>
                  <a:schemeClr val="bg1"/>
                </a:solidFill>
              </a:defRPr>
            </a:lvl1pPr>
            <a:lvl2pPr marL="460789">
              <a:defRPr sz="1400">
                <a:solidFill>
                  <a:schemeClr val="bg1"/>
                </a:solidFill>
              </a:defRPr>
            </a:lvl2pPr>
            <a:lvl3pPr marL="691183" indent="-230394">
              <a:defRPr sz="1200">
                <a:solidFill>
                  <a:schemeClr val="bg1"/>
                </a:solidFill>
              </a:defRPr>
            </a:lvl3pPr>
            <a:lvl4pPr marL="921577">
              <a:defRPr sz="1000">
                <a:solidFill>
                  <a:schemeClr val="bg1"/>
                </a:solidFill>
              </a:defRPr>
            </a:lvl4pPr>
            <a:lvl5pPr marL="1151972">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a:t>Click to edit headline</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Public</a:t>
            </a:r>
          </a:p>
        </p:txBody>
      </p:sp>
      <p:sp>
        <p:nvSpPr>
          <p:cNvPr id="14"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0893935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10"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a:t>Click to edit headline</a:t>
            </a:r>
            <a:endParaRPr lang="en-US"/>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Public</a:t>
            </a:r>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7406069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Nokia White 4">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1893600" cy="3560400"/>
          </a:xfrm>
          <a:prstGeom prst="rect">
            <a:avLst/>
          </a:prstGeom>
        </p:spPr>
        <p:txBody>
          <a:bodyPr lIns="0" tIns="0" rIns="0" bIns="0"/>
          <a:lstStyle>
            <a:lvl1pPr>
              <a:defRPr sz="1600">
                <a:solidFill>
                  <a:schemeClr val="bg1"/>
                </a:solidFill>
              </a:defRPr>
            </a:lvl1pPr>
            <a:lvl2pPr marL="460789">
              <a:defRPr sz="1400">
                <a:solidFill>
                  <a:schemeClr val="bg1"/>
                </a:solidFill>
              </a:defRPr>
            </a:lvl2pPr>
            <a:lvl3pPr marL="691183" indent="-230394">
              <a:defRPr sz="1200">
                <a:solidFill>
                  <a:schemeClr val="bg1"/>
                </a:solidFill>
              </a:defRPr>
            </a:lvl3pPr>
            <a:lvl4pPr marL="921577">
              <a:defRPr sz="1000">
                <a:solidFill>
                  <a:schemeClr val="bg1"/>
                </a:solidFill>
              </a:defRPr>
            </a:lvl4pPr>
            <a:lvl5pPr marL="1151972">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p:cNvSpPr>
            <a:spLocks noGrp="1"/>
          </p:cNvSpPr>
          <p:nvPr>
            <p:ph sz="quarter" idx="19"/>
          </p:nvPr>
        </p:nvSpPr>
        <p:spPr>
          <a:xfrm>
            <a:off x="2556000" y="1080000"/>
            <a:ext cx="1893600" cy="3560400"/>
          </a:xfrm>
          <a:prstGeom prst="rect">
            <a:avLst/>
          </a:prstGeom>
        </p:spPr>
        <p:txBody>
          <a:bodyPr lIns="0" tIns="0" rIns="0" bIns="0"/>
          <a:lstStyle>
            <a:lvl1pPr>
              <a:defRPr sz="1600">
                <a:solidFill>
                  <a:schemeClr val="bg1"/>
                </a:solidFill>
              </a:defRPr>
            </a:lvl1pPr>
            <a:lvl2pPr marL="460789">
              <a:defRPr sz="1400">
                <a:solidFill>
                  <a:schemeClr val="bg1"/>
                </a:solidFill>
              </a:defRPr>
            </a:lvl2pPr>
            <a:lvl3pPr marL="691183" indent="-230394">
              <a:defRPr sz="1200">
                <a:solidFill>
                  <a:schemeClr val="bg1"/>
                </a:solidFill>
              </a:defRPr>
            </a:lvl3pPr>
            <a:lvl4pPr marL="921577">
              <a:defRPr sz="1000">
                <a:solidFill>
                  <a:schemeClr val="bg1"/>
                </a:solidFill>
              </a:defRPr>
            </a:lvl4pPr>
            <a:lvl5pPr marL="1151972">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2"/>
          <p:cNvSpPr>
            <a:spLocks noGrp="1"/>
          </p:cNvSpPr>
          <p:nvPr>
            <p:ph sz="quarter" idx="20"/>
          </p:nvPr>
        </p:nvSpPr>
        <p:spPr>
          <a:xfrm>
            <a:off x="4694400" y="1080000"/>
            <a:ext cx="1893600" cy="3560400"/>
          </a:xfrm>
          <a:prstGeom prst="rect">
            <a:avLst/>
          </a:prstGeom>
        </p:spPr>
        <p:txBody>
          <a:bodyPr lIns="0" tIns="0" rIns="0" bIns="0"/>
          <a:lstStyle>
            <a:lvl1pPr>
              <a:defRPr sz="1600">
                <a:solidFill>
                  <a:schemeClr val="bg1"/>
                </a:solidFill>
              </a:defRPr>
            </a:lvl1pPr>
            <a:lvl2pPr marL="460789">
              <a:defRPr sz="1400">
                <a:solidFill>
                  <a:schemeClr val="bg1"/>
                </a:solidFill>
              </a:defRPr>
            </a:lvl2pPr>
            <a:lvl3pPr marL="691183" indent="-230394">
              <a:defRPr sz="1200">
                <a:solidFill>
                  <a:schemeClr val="bg1"/>
                </a:solidFill>
              </a:defRPr>
            </a:lvl3pPr>
            <a:lvl4pPr marL="921577">
              <a:defRPr sz="1000">
                <a:solidFill>
                  <a:schemeClr val="bg1"/>
                </a:solidFill>
              </a:defRPr>
            </a:lvl4pPr>
            <a:lvl5pPr marL="1151972">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Placeholder 2"/>
          <p:cNvSpPr>
            <a:spLocks noGrp="1"/>
          </p:cNvSpPr>
          <p:nvPr>
            <p:ph sz="quarter" idx="21"/>
          </p:nvPr>
        </p:nvSpPr>
        <p:spPr>
          <a:xfrm>
            <a:off x="6832800" y="1080000"/>
            <a:ext cx="1893600" cy="3560400"/>
          </a:xfrm>
          <a:prstGeom prst="rect">
            <a:avLst/>
          </a:prstGeom>
        </p:spPr>
        <p:txBody>
          <a:bodyPr lIns="0" tIns="0" rIns="0" bIns="0"/>
          <a:lstStyle>
            <a:lvl1pPr>
              <a:defRPr sz="1600">
                <a:solidFill>
                  <a:schemeClr val="bg1"/>
                </a:solidFill>
              </a:defRPr>
            </a:lvl1pPr>
            <a:lvl2pPr marL="460789">
              <a:defRPr sz="1400">
                <a:solidFill>
                  <a:schemeClr val="bg1"/>
                </a:solidFill>
              </a:defRPr>
            </a:lvl2pPr>
            <a:lvl3pPr marL="691183" indent="-230394">
              <a:defRPr sz="1200">
                <a:solidFill>
                  <a:schemeClr val="bg1"/>
                </a:solidFill>
              </a:defRPr>
            </a:lvl3pPr>
            <a:lvl4pPr marL="921577">
              <a:defRPr sz="1000">
                <a:solidFill>
                  <a:schemeClr val="bg1"/>
                </a:solidFill>
              </a:defRPr>
            </a:lvl4pPr>
            <a:lvl5pPr marL="1151972">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itle 1"/>
          <p:cNvSpPr>
            <a:spLocks noGrp="1"/>
          </p:cNvSpPr>
          <p:nvPr>
            <p:ph type="title" hasCustomPrompt="1"/>
          </p:nvPr>
        </p:nvSpPr>
        <p:spPr>
          <a:xfrm>
            <a:off x="418120" y="280800"/>
            <a:ext cx="8308800" cy="309600"/>
          </a:xfrm>
        </p:spPr>
        <p:txBody>
          <a:bodyPr/>
          <a:lstStyle>
            <a:lvl1pPr>
              <a:defRPr sz="2000" b="0">
                <a:solidFill>
                  <a:schemeClr val="bg1"/>
                </a:solidFill>
                <a:latin typeface="+mj-lt"/>
              </a:defRPr>
            </a:lvl1pPr>
          </a:lstStyle>
          <a:p>
            <a:r>
              <a:rPr lang="en-US" noProof="0"/>
              <a:t>Click to edit headline</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Public</a:t>
            </a:r>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1913895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1EF225-6116-422E-95BD-F0B623105ACE}"/>
              </a:ext>
            </a:extLst>
          </p:cNvPr>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3563" name="think-cell Slide" r:id="rId4" imgW="270" imgH="270" progId="TCLayout.ActiveDocument.1">
                  <p:embed/>
                </p:oleObj>
              </mc:Choice>
              <mc:Fallback>
                <p:oleObj name="think-cell Slide" r:id="rId4" imgW="270" imgH="270" progId="TCLayout.ActiveDocument.1">
                  <p:embed/>
                  <p:pic>
                    <p:nvPicPr>
                      <p:cNvPr id="5" name="Object 4" hidden="1">
                        <a:extLst>
                          <a:ext uri="{FF2B5EF4-FFF2-40B4-BE49-F238E27FC236}">
                            <a16:creationId xmlns:a16="http://schemas.microsoft.com/office/drawing/2014/main" id="{561EF225-6116-422E-95BD-F0B623105ACE}"/>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2" name="Date Placeholder 1"/>
          <p:cNvSpPr>
            <a:spLocks noGrp="1"/>
          </p:cNvSpPr>
          <p:nvPr>
            <p:ph type="dt" sz="half" idx="10"/>
          </p:nvPr>
        </p:nvSpPr>
        <p:spPr>
          <a:xfrm>
            <a:off x="628650" y="4767264"/>
            <a:ext cx="2057400" cy="273844"/>
          </a:xfrm>
          <a:prstGeom prst="rect">
            <a:avLst/>
          </a:prstGeom>
        </p:spPr>
        <p:txBody>
          <a:bodyPr/>
          <a:lstStyle/>
          <a:p>
            <a:pPr defTabSz="914378"/>
            <a:endParaRPr lang="en-US">
              <a:solidFill>
                <a:srgbClr val="124191"/>
              </a:solidFill>
            </a:endParaRPr>
          </a:p>
        </p:txBody>
      </p:sp>
      <p:sp>
        <p:nvSpPr>
          <p:cNvPr id="3" name="Footer Placeholder 2"/>
          <p:cNvSpPr>
            <a:spLocks noGrp="1"/>
          </p:cNvSpPr>
          <p:nvPr>
            <p:ph type="ftr" sz="quarter" idx="11"/>
          </p:nvPr>
        </p:nvSpPr>
        <p:spPr>
          <a:xfrm>
            <a:off x="2692800" y="4816800"/>
            <a:ext cx="2581200" cy="122400"/>
          </a:xfrm>
          <a:prstGeom prst="rect">
            <a:avLst/>
          </a:prstGeom>
        </p:spPr>
        <p:txBody>
          <a:bodyPr/>
          <a:lstStyle/>
          <a:p>
            <a:r>
              <a:rPr lang="en-US">
                <a:solidFill>
                  <a:srgbClr val="001135"/>
                </a:solidFill>
              </a:rPr>
              <a:t>Public</a:t>
            </a:r>
          </a:p>
        </p:txBody>
      </p:sp>
      <p:sp>
        <p:nvSpPr>
          <p:cNvPr id="4" name="Slide Number Placeholder 3"/>
          <p:cNvSpPr>
            <a:spLocks noGrp="1"/>
          </p:cNvSpPr>
          <p:nvPr>
            <p:ph type="sldNum" sz="quarter" idx="12"/>
          </p:nvPr>
        </p:nvSpPr>
        <p:spPr>
          <a:xfrm>
            <a:off x="6457950" y="4767264"/>
            <a:ext cx="2057400" cy="273844"/>
          </a:xfrm>
          <a:prstGeom prst="rect">
            <a:avLst/>
          </a:prstGeom>
        </p:spPr>
        <p:txBody>
          <a:bodyPr/>
          <a:lstStyle/>
          <a:p>
            <a:pPr defTabSz="914378"/>
            <a:fld id="{E8207427-8FCD-9541-8698-E589044984ED}" type="slidenum">
              <a:rPr lang="en-US" smtClean="0">
                <a:solidFill>
                  <a:srgbClr val="124191"/>
                </a:solidFill>
              </a:rPr>
              <a:pPr defTabSz="914378"/>
              <a:t>‹#›</a:t>
            </a:fld>
            <a:endParaRPr lang="en-US">
              <a:solidFill>
                <a:srgbClr val="124191"/>
              </a:solidFill>
            </a:endParaRPr>
          </a:p>
        </p:txBody>
      </p:sp>
    </p:spTree>
    <p:extLst>
      <p:ext uri="{BB962C8B-B14F-4D97-AF65-F5344CB8AC3E}">
        <p14:creationId xmlns:p14="http://schemas.microsoft.com/office/powerpoint/2010/main" val="42583204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Nokia Whit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6" name="Content Placeholder 8"/>
          <p:cNvSpPr>
            <a:spLocks noGrp="1"/>
          </p:cNvSpPr>
          <p:nvPr>
            <p:ph sz="quarter" idx="13"/>
          </p:nvPr>
        </p:nvSpPr>
        <p:spPr>
          <a:xfrm>
            <a:off x="418121" y="537791"/>
            <a:ext cx="8227649" cy="301625"/>
          </a:xfrm>
          <a:prstGeom prst="rect">
            <a:avLst/>
          </a:prstGeom>
        </p:spPr>
        <p:txBody>
          <a:bodyPr/>
          <a:lstStyle>
            <a:lvl1pPr marL="0" indent="0">
              <a:buFont typeface="Arial"/>
              <a:buNone/>
              <a:defRPr sz="1800">
                <a:solidFill>
                  <a:schemeClr val="bg2"/>
                </a:solidFill>
                <a:latin typeface="+mj-lt"/>
              </a:defRPr>
            </a:lvl1pPr>
          </a:lstStyle>
          <a:p>
            <a:pPr lvl="0"/>
            <a:r>
              <a:rPr lang="en-US"/>
              <a:t>Click to edit Master text styles</a:t>
            </a:r>
          </a:p>
        </p:txBody>
      </p:sp>
    </p:spTree>
    <p:extLst>
      <p:ext uri="{BB962C8B-B14F-4D97-AF65-F5344CB8AC3E}">
        <p14:creationId xmlns:p14="http://schemas.microsoft.com/office/powerpoint/2010/main" val="40520654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Nokia Blue Plain">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17599" y="280799"/>
            <a:ext cx="8308800" cy="4359600"/>
          </a:xfrm>
          <a:prstGeom prst="rect">
            <a:avLst/>
          </a:prstGeom>
        </p:spPr>
        <p:txBody>
          <a:bodyPr/>
          <a:lstStyle>
            <a:lvl1pPr marL="0" indent="0">
              <a:spcAft>
                <a:spcPts val="1200"/>
              </a:spcAft>
              <a:buNone/>
              <a:defRPr sz="4400" baseline="0">
                <a:solidFill>
                  <a:schemeClr val="bg1"/>
                </a:solidFill>
                <a:latin typeface="Nokia Pure Headline Ultra Light" panose="020B0204020202020204" pitchFamily="34" charset="0"/>
              </a:defRPr>
            </a:lvl1pPr>
            <a:lvl2pPr>
              <a:defRPr>
                <a:solidFill>
                  <a:schemeClr val="bg1"/>
                </a:solidFill>
                <a:latin typeface="+mn-lt"/>
              </a:defRPr>
            </a:lvl2pPr>
            <a:lvl3pPr>
              <a:defRPr>
                <a:solidFill>
                  <a:schemeClr val="bg1"/>
                </a:solidFill>
                <a:latin typeface="+mn-lt"/>
              </a:defRPr>
            </a:lvl3pPr>
          </a:lstStyle>
          <a:p>
            <a:pPr lvl="0"/>
            <a:r>
              <a:rPr lang="en-US"/>
              <a:t>Click to edit Master text styles</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35201" y="4806240"/>
            <a:ext cx="690379" cy="112048"/>
          </a:xfrm>
          <a:prstGeom prst="rect">
            <a:avLst/>
          </a:prstGeom>
        </p:spPr>
      </p:pic>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Public</a:t>
            </a:r>
          </a:p>
        </p:txBody>
      </p:sp>
    </p:spTree>
    <p:extLst>
      <p:ext uri="{BB962C8B-B14F-4D97-AF65-F5344CB8AC3E}">
        <p14:creationId xmlns:p14="http://schemas.microsoft.com/office/powerpoint/2010/main" val="1522638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417600" y="1556619"/>
            <a:ext cx="3722352" cy="2808312"/>
          </a:xfrm>
        </p:spPr>
        <p:txBody>
          <a:bodyPr/>
          <a:lstStyle>
            <a:lvl1pPr>
              <a:defRPr sz="4000" b="0" i="0">
                <a:solidFill>
                  <a:schemeClr val="tx1"/>
                </a:solidFill>
                <a:latin typeface="Nokia Pure Headline Ultra Light" charset="0"/>
                <a:ea typeface="Nokia Pure Headline Ultra Light" charset="0"/>
                <a:cs typeface="Nokia Pure Headline Ultra Light" charset="0"/>
              </a:defRPr>
            </a:lvl1pPr>
          </a:lstStyle>
          <a:p>
            <a:r>
              <a:rPr lang="en-US" dirty="0"/>
              <a:t>Click to edit Master title styl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0120" y="281450"/>
            <a:ext cx="1084832" cy="177189"/>
          </a:xfrm>
          <a:prstGeom prst="rect">
            <a:avLst/>
          </a:prstGeom>
        </p:spPr>
      </p:pic>
    </p:spTree>
    <p:extLst>
      <p:ext uri="{BB962C8B-B14F-4D97-AF65-F5344CB8AC3E}">
        <p14:creationId xmlns:p14="http://schemas.microsoft.com/office/powerpoint/2010/main" val="30714847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7600" y="1556619"/>
            <a:ext cx="3722352" cy="2808312"/>
          </a:xfrm>
        </p:spPr>
        <p:txBody>
          <a:bodyPr/>
          <a:lstStyle>
            <a:lvl1pPr>
              <a:defRPr sz="4000" b="0" i="0">
                <a:solidFill>
                  <a:schemeClr val="bg1"/>
                </a:solidFill>
                <a:latin typeface="Nokia Pure Headline Ultra Light" charset="0"/>
                <a:ea typeface="Nokia Pure Headline Ultra Light" charset="0"/>
                <a:cs typeface="Nokia Pure Headline Ultra Light" charset="0"/>
              </a:defRPr>
            </a:lvl1pPr>
          </a:lstStyle>
          <a:p>
            <a:r>
              <a:rPr lang="en-US" dirty="0"/>
              <a:t>Click to edit Master title style</a:t>
            </a:r>
          </a:p>
        </p:txBody>
      </p:sp>
      <p:pic>
        <p:nvPicPr>
          <p:cNvPr id="5" name="Picture 4" descr="Nokia_logo_White-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537" y="339503"/>
            <a:ext cx="1148284" cy="242229"/>
          </a:xfrm>
          <a:prstGeom prst="rect">
            <a:avLst/>
          </a:prstGeom>
        </p:spPr>
      </p:pic>
    </p:spTree>
    <p:extLst>
      <p:ext uri="{BB962C8B-B14F-4D97-AF65-F5344CB8AC3E}">
        <p14:creationId xmlns:p14="http://schemas.microsoft.com/office/powerpoint/2010/main" val="127703847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Heading + Text">
    <p:bg>
      <p:bgPr>
        <a:solidFill>
          <a:schemeClr val="bg1"/>
        </a:solidFill>
        <a:effectLst/>
      </p:bgPr>
    </p:bg>
    <p:spTree>
      <p:nvGrpSpPr>
        <p:cNvPr id="1" name=""/>
        <p:cNvGrpSpPr/>
        <p:nvPr/>
      </p:nvGrpSpPr>
      <p:grpSpPr>
        <a:xfrm>
          <a:off x="0" y="0"/>
          <a:ext cx="0" cy="0"/>
          <a:chOff x="0" y="0"/>
          <a:chExt cx="0" cy="0"/>
        </a:xfrm>
      </p:grpSpPr>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800" baseline="0">
                <a:solidFill>
                  <a:schemeClr val="tx1"/>
                </a:solidFill>
                <a:latin typeface="+mj-lt"/>
              </a:defRPr>
            </a:lvl1pPr>
          </a:lstStyle>
          <a:p>
            <a:pPr lvl="0"/>
            <a:r>
              <a:rPr lang="en-US" dirty="0"/>
              <a:t>Click to edit headline</a:t>
            </a:r>
          </a:p>
        </p:txBody>
      </p:sp>
      <p:sp>
        <p:nvSpPr>
          <p:cNvPr id="4" name="Text Placeholder 3"/>
          <p:cNvSpPr>
            <a:spLocks noGrp="1"/>
          </p:cNvSpPr>
          <p:nvPr>
            <p:ph type="body" sz="quarter" idx="12"/>
          </p:nvPr>
        </p:nvSpPr>
        <p:spPr>
          <a:xfrm>
            <a:off x="417600" y="1080000"/>
            <a:ext cx="8308800" cy="3560400"/>
          </a:xfrm>
          <a:prstGeom prst="rect">
            <a:avLst/>
          </a:prstGeom>
        </p:spPr>
        <p:txBody>
          <a:bodyPr lIns="0" tIns="0" rIns="0" bIns="0"/>
          <a:lstStyle>
            <a:lvl1pPr marL="230394" indent="-230394">
              <a:spcBef>
                <a:spcPts val="0"/>
              </a:spcBef>
              <a:spcAft>
                <a:spcPts val="1200"/>
              </a:spcAft>
              <a:buClr>
                <a:schemeClr val="tx1"/>
              </a:buClr>
              <a:buFont typeface="Arial" charset="0"/>
              <a:buChar char="•"/>
              <a:defRPr sz="1400" b="0" i="0">
                <a:solidFill>
                  <a:schemeClr val="tx2"/>
                </a:solidFill>
                <a:latin typeface="Nokia Pure Text Light" charset="0"/>
                <a:ea typeface="Nokia Pure Text Light" charset="0"/>
                <a:cs typeface="Nokia Pure Text Light" charset="0"/>
              </a:defRPr>
            </a:lvl1pPr>
            <a:lvl2pPr marL="460789" indent="-230394">
              <a:spcBef>
                <a:spcPts val="0"/>
              </a:spcBef>
              <a:spcAft>
                <a:spcPts val="1200"/>
              </a:spcAft>
              <a:buClr>
                <a:schemeClr val="tx1"/>
              </a:buClr>
              <a:buFont typeface="Arial" charset="0"/>
              <a:buChar char="•"/>
              <a:defRPr sz="1200" b="0" i="0">
                <a:solidFill>
                  <a:schemeClr val="tx2"/>
                </a:solidFill>
                <a:latin typeface="Nokia Pure Text Light" charset="0"/>
                <a:ea typeface="Nokia Pure Text Light" charset="0"/>
                <a:cs typeface="Nokia Pure Text Light" charset="0"/>
              </a:defRPr>
            </a:lvl2pPr>
            <a:lvl3pPr marL="691183" indent="-228594">
              <a:spcBef>
                <a:spcPts val="0"/>
              </a:spcBef>
              <a:spcAft>
                <a:spcPts val="1200"/>
              </a:spcAft>
              <a:buClr>
                <a:schemeClr val="tx1"/>
              </a:buClr>
              <a:buFont typeface="Arial" charset="0"/>
              <a:buChar char="•"/>
              <a:defRPr sz="1100" b="0" i="0">
                <a:solidFill>
                  <a:schemeClr val="tx2"/>
                </a:solidFill>
                <a:latin typeface="Nokia Pure Text Light" charset="0"/>
                <a:ea typeface="Nokia Pure Text Light" charset="0"/>
                <a:cs typeface="Nokia Pure Text Light" charset="0"/>
              </a:defRPr>
            </a:lvl3pPr>
            <a:lvl4pPr marL="921577" indent="-228594">
              <a:spcBef>
                <a:spcPts val="0"/>
              </a:spcBef>
              <a:spcAft>
                <a:spcPts val="1200"/>
              </a:spcAft>
              <a:buClr>
                <a:schemeClr val="tx1"/>
              </a:buClr>
              <a:buFont typeface="Arial" charset="0"/>
              <a:buChar char="•"/>
              <a:defRPr sz="900" b="0" i="0">
                <a:solidFill>
                  <a:schemeClr val="tx2"/>
                </a:solidFill>
                <a:latin typeface="Nokia Pure Text Light" charset="0"/>
                <a:ea typeface="Nokia Pure Text Light" charset="0"/>
                <a:cs typeface="Nokia Pure Text Light" charset="0"/>
              </a:defRPr>
            </a:lvl4pPr>
            <a:lvl5pPr marL="1151972" indent="-228594">
              <a:spcBef>
                <a:spcPts val="0"/>
              </a:spcBef>
              <a:spcAft>
                <a:spcPts val="1200"/>
              </a:spcAft>
              <a:buClr>
                <a:schemeClr val="tx1"/>
              </a:buClr>
              <a:buFont typeface="Arial" charset="0"/>
              <a:buChar char="•"/>
              <a:defRPr sz="800" b="0" i="0">
                <a:solidFill>
                  <a:schemeClr val="tx2"/>
                </a:solidFill>
                <a:latin typeface="Nokia Pure Text Light" charset="0"/>
                <a:ea typeface="Nokia Pure Text Light" charset="0"/>
                <a:cs typeface="Nokia Pure Text Light" charset="0"/>
              </a:defRPr>
            </a:lvl5pPr>
            <a:lvl6pPr marL="1382366" indent="-228594">
              <a:spcBef>
                <a:spcPts val="0"/>
              </a:spcBef>
              <a:spcAft>
                <a:spcPts val="600"/>
              </a:spcAft>
              <a:buFont typeface="Nokia Pure Text" panose="020B0503020202020204" pitchFamily="34" charset="0"/>
              <a:buChar char="‒"/>
              <a:defRPr sz="800" baseline="0">
                <a:solidFill>
                  <a:schemeClr val="tx2"/>
                </a:solidFill>
              </a:defRPr>
            </a:lvl6pPr>
            <a:lvl7pPr marL="1612760">
              <a:spcBef>
                <a:spcPts val="0"/>
              </a:spcBef>
              <a:spcAft>
                <a:spcPts val="600"/>
              </a:spcAft>
              <a:defRPr sz="700">
                <a:solidFill>
                  <a:schemeClr val="tx2"/>
                </a:solidFill>
              </a:defRPr>
            </a:lvl7pPr>
            <a:lvl8pPr marL="1843154">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033837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800" baseline="0">
                <a:solidFill>
                  <a:schemeClr val="tx1"/>
                </a:solidFill>
                <a:latin typeface="+mj-lt"/>
              </a:defRPr>
            </a:lvl1pPr>
          </a:lstStyle>
          <a:p>
            <a:pPr lvl="0"/>
            <a:r>
              <a:rPr lang="en-US" dirty="0"/>
              <a:t>Click to edit headline</a:t>
            </a:r>
          </a:p>
        </p:txBody>
      </p:sp>
    </p:spTree>
    <p:extLst>
      <p:ext uri="{BB962C8B-B14F-4D97-AF65-F5344CB8AC3E}">
        <p14:creationId xmlns:p14="http://schemas.microsoft.com/office/powerpoint/2010/main" val="18790289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ig heading + Image">
    <p:bg>
      <p:bgPr>
        <a:solidFill>
          <a:schemeClr val="tx1"/>
        </a:solidFill>
        <a:effectLst/>
      </p:bgPr>
    </p:bg>
    <p:spTree>
      <p:nvGrpSpPr>
        <p:cNvPr id="1" name=""/>
        <p:cNvGrpSpPr/>
        <p:nvPr/>
      </p:nvGrpSpPr>
      <p:grpSpPr>
        <a:xfrm>
          <a:off x="0" y="0"/>
          <a:ext cx="0" cy="0"/>
          <a:chOff x="0" y="0"/>
          <a:chExt cx="0" cy="0"/>
        </a:xfrm>
      </p:grpSpPr>
      <p:sp>
        <p:nvSpPr>
          <p:cNvPr id="43" name="Text Placeholder 42"/>
          <p:cNvSpPr>
            <a:spLocks noGrp="1"/>
          </p:cNvSpPr>
          <p:nvPr>
            <p:ph type="body" sz="quarter" idx="11" hasCustomPrompt="1"/>
          </p:nvPr>
        </p:nvSpPr>
        <p:spPr>
          <a:xfrm>
            <a:off x="417600" y="1380258"/>
            <a:ext cx="6211800" cy="2016085"/>
          </a:xfrm>
          <a:prstGeom prst="rect">
            <a:avLst/>
          </a:prstGeom>
        </p:spPr>
        <p:txBody>
          <a:bodyPr lIns="0" tIns="0" rIns="0" bIns="0" anchor="ctr"/>
          <a:lstStyle>
            <a:lvl1pPr marL="0" indent="0">
              <a:buNone/>
              <a:defRPr sz="5400" b="0" i="0" baseline="0">
                <a:solidFill>
                  <a:schemeClr val="bg1"/>
                </a:solidFill>
                <a:latin typeface="Nokia Pure Headline Ultra Light" charset="0"/>
                <a:ea typeface="Nokia Pure Headline Ultra Light" charset="0"/>
                <a:cs typeface="Nokia Pure Headline Ultra Light" charset="0"/>
              </a:defRPr>
            </a:lvl1pPr>
          </a:lstStyle>
          <a:p>
            <a:pPr lvl="0"/>
            <a:r>
              <a:rPr lang="en-US" dirty="0"/>
              <a:t>Click to edit headline</a:t>
            </a:r>
          </a:p>
        </p:txBody>
      </p:sp>
    </p:spTree>
    <p:extLst>
      <p:ext uri="{BB962C8B-B14F-4D97-AF65-F5344CB8AC3E}">
        <p14:creationId xmlns:p14="http://schemas.microsoft.com/office/powerpoint/2010/main" val="9793526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eading, dark">
    <p:bg>
      <p:bgPr>
        <a:solidFill>
          <a:schemeClr val="tx1"/>
        </a:solidFill>
        <a:effectLst/>
      </p:bgPr>
    </p:bg>
    <p:spTree>
      <p:nvGrpSpPr>
        <p:cNvPr id="1" name=""/>
        <p:cNvGrpSpPr/>
        <p:nvPr/>
      </p:nvGrpSpPr>
      <p:grpSpPr>
        <a:xfrm>
          <a:off x="0" y="0"/>
          <a:ext cx="0" cy="0"/>
          <a:chOff x="0" y="0"/>
          <a:chExt cx="0" cy="0"/>
        </a:xfrm>
      </p:grpSpPr>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800" baseline="0">
                <a:solidFill>
                  <a:schemeClr val="bg1"/>
                </a:solidFill>
                <a:latin typeface="+mj-lt"/>
              </a:defRPr>
            </a:lvl1pPr>
          </a:lstStyle>
          <a:p>
            <a:pPr lvl="0"/>
            <a:r>
              <a:rPr lang="en-US" dirty="0"/>
              <a:t>Click to edit headline</a:t>
            </a:r>
          </a:p>
        </p:txBody>
      </p:sp>
    </p:spTree>
    <p:extLst>
      <p:ext uri="{BB962C8B-B14F-4D97-AF65-F5344CB8AC3E}">
        <p14:creationId xmlns:p14="http://schemas.microsoft.com/office/powerpoint/2010/main" val="44160147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19165638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pPr defTabSz="457166"/>
            <a:r>
              <a:rPr lang="en-US">
                <a:solidFill>
                  <a:srgbClr val="001135"/>
                </a:solidFill>
                <a:cs typeface="Arial" panose="020B0604020202020204" pitchFamily="34" charset="0"/>
              </a:rPr>
              <a:t>Public</a:t>
            </a:r>
            <a:endParaRPr lang="en-US" dirty="0">
              <a:solidFill>
                <a:srgbClr val="001135"/>
              </a:solidFill>
              <a:cs typeface="Arial" panose="020B0604020202020204" pitchFamily="34" charset="0"/>
            </a:endParaRPr>
          </a:p>
        </p:txBody>
      </p:sp>
      <p:sp>
        <p:nvSpPr>
          <p:cNvPr id="4" name="Text Placeholder 3"/>
          <p:cNvSpPr>
            <a:spLocks noGrp="1"/>
          </p:cNvSpPr>
          <p:nvPr>
            <p:ph type="body" sz="quarter" idx="12"/>
          </p:nvPr>
        </p:nvSpPr>
        <p:spPr>
          <a:xfrm>
            <a:off x="417600" y="1080000"/>
            <a:ext cx="8308800" cy="3560400"/>
          </a:xfrm>
          <a:prstGeom prst="rect">
            <a:avLst/>
          </a:prstGeom>
        </p:spPr>
        <p:txBody>
          <a:bodyPr lIns="0" tIns="0" rIns="0" bIns="0"/>
          <a:lstStyle>
            <a:lvl1pPr marL="230382" indent="-230382">
              <a:spcBef>
                <a:spcPts val="0"/>
              </a:spcBef>
              <a:spcAft>
                <a:spcPts val="600"/>
              </a:spcAft>
              <a:defRPr sz="1600">
                <a:solidFill>
                  <a:schemeClr val="tx2"/>
                </a:solidFill>
                <a:latin typeface="+mn-lt"/>
              </a:defRPr>
            </a:lvl1pPr>
            <a:lvl2pPr marL="460766" indent="-230382">
              <a:spcBef>
                <a:spcPts val="0"/>
              </a:spcBef>
              <a:spcAft>
                <a:spcPts val="600"/>
              </a:spcAft>
              <a:defRPr sz="1400">
                <a:solidFill>
                  <a:schemeClr val="tx2"/>
                </a:solidFill>
                <a:latin typeface="+mn-lt"/>
              </a:defRPr>
            </a:lvl2pPr>
            <a:lvl3pPr marL="691149">
              <a:spcBef>
                <a:spcPts val="0"/>
              </a:spcBef>
              <a:spcAft>
                <a:spcPts val="600"/>
              </a:spcAft>
              <a:defRPr sz="1200">
                <a:solidFill>
                  <a:schemeClr val="tx2"/>
                </a:solidFill>
                <a:latin typeface="+mn-lt"/>
              </a:defRPr>
            </a:lvl3pPr>
            <a:lvl4pPr marL="921531">
              <a:spcBef>
                <a:spcPts val="0"/>
              </a:spcBef>
              <a:spcAft>
                <a:spcPts val="600"/>
              </a:spcAft>
              <a:defRPr sz="1000">
                <a:solidFill>
                  <a:schemeClr val="tx2"/>
                </a:solidFill>
                <a:latin typeface="+mn-lt"/>
              </a:defRPr>
            </a:lvl4pPr>
            <a:lvl5pPr marL="1151915" indent="-228582">
              <a:spcBef>
                <a:spcPts val="0"/>
              </a:spcBef>
              <a:spcAft>
                <a:spcPts val="600"/>
              </a:spcAft>
              <a:buFont typeface="Arial" panose="020B0604020202020204" pitchFamily="34" charset="0"/>
              <a:buChar char="•"/>
              <a:defRPr sz="900">
                <a:solidFill>
                  <a:schemeClr val="tx2"/>
                </a:solidFill>
                <a:latin typeface="+mn-lt"/>
              </a:defRPr>
            </a:lvl5pPr>
            <a:lvl6pPr marL="1382297" indent="-228582">
              <a:spcBef>
                <a:spcPts val="0"/>
              </a:spcBef>
              <a:spcAft>
                <a:spcPts val="600"/>
              </a:spcAft>
              <a:buFont typeface="Nokia Pure Text" panose="020B0503020202020204" pitchFamily="34" charset="0"/>
              <a:buChar char="‒"/>
              <a:defRPr sz="800" baseline="0">
                <a:solidFill>
                  <a:schemeClr val="tx2"/>
                </a:solidFill>
              </a:defRPr>
            </a:lvl6pPr>
            <a:lvl7pPr marL="1612680">
              <a:spcBef>
                <a:spcPts val="0"/>
              </a:spcBef>
              <a:spcAft>
                <a:spcPts val="600"/>
              </a:spcAft>
              <a:defRPr sz="700">
                <a:solidFill>
                  <a:schemeClr val="tx2"/>
                </a:solidFill>
              </a:defRPr>
            </a:lvl7pPr>
            <a:lvl8pPr marL="1843062">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19132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E73AFB-0BD6-4E14-BC52-1E6B1653F7A0}"/>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4" name="think-cell Slide" r:id="rId4" imgW="270" imgH="270" progId="TCLayout.ActiveDocument.1">
                  <p:embed/>
                </p:oleObj>
              </mc:Choice>
              <mc:Fallback>
                <p:oleObj name="think-cell Slide" r:id="rId4" imgW="270" imgH="270" progId="TCLayout.ActiveDocument.1">
                  <p:embed/>
                  <p:pic>
                    <p:nvPicPr>
                      <p:cNvPr id="2" name="Object 1" hidden="1">
                        <a:extLst>
                          <a:ext uri="{FF2B5EF4-FFF2-40B4-BE49-F238E27FC236}">
                            <a16:creationId xmlns:a16="http://schemas.microsoft.com/office/drawing/2014/main" id="{DCE73AFB-0BD6-4E14-BC52-1E6B1653F7A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p:txBody>
          <a:bodyPr/>
          <a:lstStyle>
            <a:lvl1pPr>
              <a:spcAft>
                <a:spcPts val="600"/>
              </a:spcAft>
              <a:defRPr baseline="0"/>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1"/>
          <p:cNvSpPr>
            <a:spLocks noGrp="1"/>
          </p:cNvSpPr>
          <p:nvPr>
            <p:ph type="title"/>
          </p:nvPr>
        </p:nvSpPr>
        <p:spPr>
          <a:xfrm>
            <a:off x="418120" y="279249"/>
            <a:ext cx="8229600" cy="311789"/>
          </a:xfrm>
        </p:spPr>
        <p:txBody>
          <a:bodyPr/>
          <a:lstStyle>
            <a:lvl1pPr>
              <a:defRPr/>
            </a:lvl1pPr>
          </a:lstStyle>
          <a:p>
            <a:r>
              <a:rPr lang="en-US"/>
              <a:t>Click to edit Master title style</a:t>
            </a:r>
            <a:endParaRPr lang="en-US" dirty="0"/>
          </a:p>
        </p:txBody>
      </p:sp>
      <p:sp>
        <p:nvSpPr>
          <p:cNvPr id="6"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pic>
        <p:nvPicPr>
          <p:cNvPr id="7" name="Picture 5"/>
          <p:cNvPicPr>
            <a:picLocks noChangeAspect="1" noChangeArrowheads="1"/>
          </p:cNvPicPr>
          <p:nvPr userDrawn="1"/>
        </p:nvPicPr>
        <p:blipFill>
          <a:blip r:embed="rId6"/>
          <a:srcRect/>
          <a:stretch>
            <a:fillRect/>
          </a:stretch>
        </p:blipFill>
        <p:spPr bwMode="auto">
          <a:xfrm>
            <a:off x="8059799" y="218365"/>
            <a:ext cx="647472" cy="668740"/>
          </a:xfrm>
          <a:prstGeom prst="rect">
            <a:avLst/>
          </a:prstGeom>
          <a:noFill/>
          <a:ln w="9525">
            <a:noFill/>
            <a:miter lim="800000"/>
            <a:headEnd/>
            <a:tailEnd/>
          </a:ln>
        </p:spPr>
      </p:pic>
    </p:spTree>
    <p:extLst>
      <p:ext uri="{BB962C8B-B14F-4D97-AF65-F5344CB8AC3E}">
        <p14:creationId xmlns:p14="http://schemas.microsoft.com/office/powerpoint/2010/main" val="39947066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cSld name="4_Title and Content">
    <p:spTree>
      <p:nvGrpSpPr>
        <p:cNvPr id="1" name=""/>
        <p:cNvGrpSpPr/>
        <p:nvPr/>
      </p:nvGrpSpPr>
      <p:grpSpPr>
        <a:xfrm>
          <a:off x="0" y="0"/>
          <a:ext cx="0" cy="0"/>
          <a:chOff x="0" y="0"/>
          <a:chExt cx="0" cy="0"/>
        </a:xfrm>
      </p:grpSpPr>
      <p:pic>
        <p:nvPicPr>
          <p:cNvPr id="10" name="Picture 1" descr="D:\_nokia\PPT\GS Executive ppt\images\stock-photo-23110185-awe.jpg"/>
          <p:cNvPicPr>
            <a:picLocks noChangeAspect="1" noChangeArrowheads="1"/>
          </p:cNvPicPr>
          <p:nvPr userDrawn="1"/>
        </p:nvPicPr>
        <p:blipFill>
          <a:blip r:embed="rId4">
            <a:extLst>
              <a:ext uri="{28A0092B-C50C-407E-A947-70E740481C1C}">
                <a14:useLocalDpi xmlns:a14="http://schemas.microsoft.com/office/drawing/2010/main" val="0"/>
              </a:ext>
            </a:extLst>
          </a:blip>
          <a:srcRect t="8044" r="1367" b="8804"/>
          <a:stretch>
            <a:fillRect/>
          </a:stretch>
        </p:blipFill>
        <p:spPr bwMode="auto">
          <a:xfrm>
            <a:off x="0" y="0"/>
            <a:ext cx="9144000" cy="5143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9" name="think-cell Slide" r:id="rId5" imgW="216" imgH="216" progId="TCLayout.ActiveDocument.1">
                  <p:embed/>
                </p:oleObj>
              </mc:Choice>
              <mc:Fallback>
                <p:oleObj name="think-cell Slide" r:id="rId5" imgW="216" imgH="216"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txBox="1">
            <a:spLocks/>
          </p:cNvSpPr>
          <p:nvPr/>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bg1"/>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bg1"/>
              </a:solidFill>
              <a:latin typeface="Nokia Pure Text Light" panose="020B0304040602060303" pitchFamily="34" charset="0"/>
              <a:cs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chemeClr val="bg1"/>
                </a:solidFill>
                <a:latin typeface="Nokia Pure Text Light" panose="020B0304040602060303" pitchFamily="34" charset="0"/>
                <a:cs typeface="Arial" panose="020B0604020202020204" pitchFamily="34" charset="0"/>
              </a:rPr>
              <a:t>© Nokia 2019</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35200" y="4806239"/>
            <a:ext cx="690379" cy="112048"/>
          </a:xfrm>
          <a:prstGeom prst="rect">
            <a:avLst/>
          </a:prstGeom>
        </p:spPr>
      </p:pic>
      <p:sp>
        <p:nvSpPr>
          <p:cNvPr id="13" name="TextBox 12"/>
          <p:cNvSpPr txBox="1"/>
          <p:nvPr userDrawn="1"/>
        </p:nvSpPr>
        <p:spPr>
          <a:xfrm>
            <a:off x="425731" y="4956412"/>
            <a:ext cx="1800000" cy="122237"/>
          </a:xfrm>
          <a:prstGeom prst="rect">
            <a:avLst/>
          </a:prstGeom>
          <a:noFill/>
        </p:spPr>
        <p:txBody>
          <a:bodyPr wrap="square" lIns="0" tIns="0" rIns="0" bIns="0" anchor="b">
            <a:spAutoFit/>
          </a:bodyPr>
          <a:lstStyle/>
          <a:p>
            <a:r>
              <a:rPr lang="en-GB" sz="800" dirty="0">
                <a:solidFill>
                  <a:schemeClr val="bg1"/>
                </a:solidFill>
                <a:latin typeface="+mn-lt"/>
                <a:cs typeface="Arial" charset="0"/>
              </a:rPr>
              <a:t>PUBLIC</a:t>
            </a:r>
          </a:p>
        </p:txBody>
      </p:sp>
    </p:spTree>
    <p:extLst>
      <p:ext uri="{BB962C8B-B14F-4D97-AF65-F5344CB8AC3E}">
        <p14:creationId xmlns:p14="http://schemas.microsoft.com/office/powerpoint/2010/main" val="23871702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2" name="Title 1"/>
          <p:cNvSpPr>
            <a:spLocks noGrp="1"/>
          </p:cNvSpPr>
          <p:nvPr>
            <p:ph type="title"/>
          </p:nvPr>
        </p:nvSpPr>
        <p:spPr>
          <a:xfrm>
            <a:off x="418120" y="279249"/>
            <a:ext cx="8229600" cy="311789"/>
          </a:xfrm>
        </p:spPr>
        <p:txBody>
          <a:bodyPr/>
          <a:lstStyle>
            <a:lvl1pPr>
              <a:defRPr/>
            </a:lvl1pPr>
          </a:lstStyle>
          <a:p>
            <a:r>
              <a:rPr lang="en-US"/>
              <a:t>Click to edit Master title style</a:t>
            </a:r>
            <a:endParaRPr lang="en-US" dirty="0"/>
          </a:p>
        </p:txBody>
      </p:sp>
      <p:sp>
        <p:nvSpPr>
          <p:cNvPr id="8"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
        <p:nvSpPr>
          <p:cNvPr id="12" name="Text Placeholder 10"/>
          <p:cNvSpPr>
            <a:spLocks noGrp="1"/>
          </p:cNvSpPr>
          <p:nvPr>
            <p:ph type="body" sz="quarter" idx="16"/>
          </p:nvPr>
        </p:nvSpPr>
        <p:spPr>
          <a:xfrm>
            <a:off x="423863" y="1087438"/>
            <a:ext cx="4032250" cy="2544762"/>
          </a:xfrm>
        </p:spPr>
        <p:txBody>
          <a:bodyPr/>
          <a:lstStyle>
            <a:lvl1pPr marL="0" indent="0">
              <a:spcAft>
                <a:spcPts val="600"/>
              </a:spcAft>
              <a:buFont typeface="Arial" pitchFamily="34" charset="0"/>
              <a:buNone/>
              <a:defRPr baseline="0"/>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08513" y="1087310"/>
            <a:ext cx="4032250" cy="2544762"/>
          </a:xfrm>
        </p:spPr>
        <p:txBody>
          <a:bodyPr/>
          <a:lstStyle>
            <a:lvl1pPr marL="0" indent="0">
              <a:spcAft>
                <a:spcPts val="600"/>
              </a:spcAft>
              <a:buNone/>
              <a:defRPr baseline="0"/>
            </a:lvl1pPr>
            <a:lvl2pPr marL="0" indent="0">
              <a:spcAft>
                <a:spcPts val="600"/>
              </a:spcAft>
              <a:buNone/>
              <a:defRPr/>
            </a:lvl2pPr>
            <a:lvl3pPr>
              <a:buNone/>
              <a:defRPr/>
            </a:lvl3pPr>
            <a:lvl4pPr>
              <a:buNone/>
              <a:defRPr/>
            </a:lvl4pPr>
            <a:lvl5pPr>
              <a:buNone/>
              <a:defRPr/>
            </a:lvl5pPr>
          </a:lstStyle>
          <a:p>
            <a:pPr lvl="0"/>
            <a:r>
              <a:rPr lang="en-US"/>
              <a:t>Click to edit Master text styles</a:t>
            </a:r>
          </a:p>
          <a:p>
            <a:pPr lvl="1"/>
            <a:r>
              <a:rPr lang="en-US"/>
              <a:t>Second level</a:t>
            </a:r>
          </a:p>
        </p:txBody>
      </p:sp>
      <p:pic>
        <p:nvPicPr>
          <p:cNvPr id="6" name="Picture 5"/>
          <p:cNvPicPr>
            <a:picLocks noChangeAspect="1" noChangeArrowheads="1"/>
          </p:cNvPicPr>
          <p:nvPr userDrawn="1"/>
        </p:nvPicPr>
        <p:blipFill>
          <a:blip r:embed="rId2"/>
          <a:srcRect/>
          <a:stretch>
            <a:fillRect/>
          </a:stretch>
        </p:blipFill>
        <p:spPr bwMode="auto">
          <a:xfrm>
            <a:off x="8059799" y="218365"/>
            <a:ext cx="647472" cy="668740"/>
          </a:xfrm>
          <a:prstGeom prst="rect">
            <a:avLst/>
          </a:prstGeom>
          <a:noFill/>
          <a:ln w="9525">
            <a:noFill/>
            <a:miter lim="800000"/>
            <a:headEnd/>
            <a:tailEnd/>
          </a:ln>
        </p:spPr>
      </p:pic>
    </p:spTree>
    <p:extLst>
      <p:ext uri="{BB962C8B-B14F-4D97-AF65-F5344CB8AC3E}">
        <p14:creationId xmlns:p14="http://schemas.microsoft.com/office/powerpoint/2010/main" val="21500494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6"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pic>
        <p:nvPicPr>
          <p:cNvPr id="4" name="Picture 5"/>
          <p:cNvPicPr>
            <a:picLocks noChangeAspect="1" noChangeArrowheads="1"/>
          </p:cNvPicPr>
          <p:nvPr userDrawn="1"/>
        </p:nvPicPr>
        <p:blipFill>
          <a:blip r:embed="rId2"/>
          <a:srcRect/>
          <a:stretch>
            <a:fillRect/>
          </a:stretch>
        </p:blipFill>
        <p:spPr bwMode="auto">
          <a:xfrm>
            <a:off x="8059799" y="218365"/>
            <a:ext cx="647472" cy="668740"/>
          </a:xfrm>
          <a:prstGeom prst="rect">
            <a:avLst/>
          </a:prstGeom>
          <a:noFill/>
          <a:ln w="9525">
            <a:noFill/>
            <a:miter lim="800000"/>
            <a:headEnd/>
            <a:tailEnd/>
          </a:ln>
        </p:spPr>
      </p:pic>
    </p:spTree>
    <p:extLst>
      <p:ext uri="{BB962C8B-B14F-4D97-AF65-F5344CB8AC3E}">
        <p14:creationId xmlns:p14="http://schemas.microsoft.com/office/powerpoint/2010/main" val="294146148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17513" y="4713288"/>
            <a:ext cx="633412" cy="274637"/>
          </a:xfrm>
          <a:prstGeom prst="rect">
            <a:avLst/>
          </a:prstGeom>
        </p:spPr>
        <p:txBody>
          <a:bodyPr lIns="91437" tIns="45718" rIns="91437" bIns="45718"/>
          <a:lstStyle>
            <a:lvl1pPr>
              <a:defRPr/>
            </a:lvl1pPr>
          </a:lstStyle>
          <a:p>
            <a:endParaRPr lang="en-US"/>
          </a:p>
        </p:txBody>
      </p:sp>
      <p:sp>
        <p:nvSpPr>
          <p:cNvPr id="3" name="Footer Placeholder 4"/>
          <p:cNvSpPr>
            <a:spLocks noGrp="1"/>
          </p:cNvSpPr>
          <p:nvPr>
            <p:ph type="ftr" sz="quarter" idx="11"/>
          </p:nvPr>
        </p:nvSpPr>
        <p:spPr>
          <a:xfrm>
            <a:off x="1254126" y="4713288"/>
            <a:ext cx="3176588" cy="274637"/>
          </a:xfrm>
          <a:prstGeom prst="rect">
            <a:avLst/>
          </a:prstGeom>
        </p:spPr>
        <p:txBody>
          <a:bodyPr lIns="91437" tIns="45718" rIns="91437" bIns="45718"/>
          <a:lstStyle>
            <a:lvl1pPr>
              <a:defRPr/>
            </a:lvl1pPr>
          </a:lstStyle>
          <a:p>
            <a:pPr>
              <a:defRPr/>
            </a:pPr>
            <a:r>
              <a:rPr lang="fi-FI"/>
              <a:t>Public</a:t>
            </a:r>
            <a:endParaRPr/>
          </a:p>
        </p:txBody>
      </p:sp>
    </p:spTree>
    <p:extLst>
      <p:ext uri="{BB962C8B-B14F-4D97-AF65-F5344CB8AC3E}">
        <p14:creationId xmlns:p14="http://schemas.microsoft.com/office/powerpoint/2010/main" val="245733698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obj">
  <p:cSld name="4_Title and Content">
    <p:spTree>
      <p:nvGrpSpPr>
        <p:cNvPr id="1" name=""/>
        <p:cNvGrpSpPr/>
        <p:nvPr/>
      </p:nvGrpSpPr>
      <p:grpSpPr>
        <a:xfrm>
          <a:off x="0" y="0"/>
          <a:ext cx="0" cy="0"/>
          <a:chOff x="0" y="0"/>
          <a:chExt cx="0" cy="0"/>
        </a:xfrm>
      </p:grpSpPr>
      <p:pic>
        <p:nvPicPr>
          <p:cNvPr id="10" name="Picture 1" descr="D:\_nokia\PPT\GS Executive ppt\images\stock-photo-23110185-awe.jpg"/>
          <p:cNvPicPr>
            <a:picLocks noChangeAspect="1" noChangeArrowheads="1"/>
          </p:cNvPicPr>
          <p:nvPr userDrawn="1"/>
        </p:nvPicPr>
        <p:blipFill>
          <a:blip r:embed="rId4">
            <a:extLst>
              <a:ext uri="{28A0092B-C50C-407E-A947-70E740481C1C}">
                <a14:useLocalDpi xmlns:a14="http://schemas.microsoft.com/office/drawing/2010/main" val="0"/>
              </a:ext>
            </a:extLst>
          </a:blip>
          <a:srcRect t="8044" r="1367" b="8804"/>
          <a:stretch>
            <a:fillRect/>
          </a:stretch>
        </p:blipFill>
        <p:spPr bwMode="auto">
          <a:xfrm>
            <a:off x="0" y="0"/>
            <a:ext cx="9144000" cy="5143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20" name="think-cell Slide" r:id="rId5" imgW="216" imgH="216" progId="TCLayout.ActiveDocument.1">
                  <p:embed/>
                </p:oleObj>
              </mc:Choice>
              <mc:Fallback>
                <p:oleObj name="think-cell Slide" r:id="rId5" imgW="216" imgH="216" progId="TCLayout.ActiveDocument.1">
                  <p:embed/>
                  <p:pic>
                    <p:nvPicPr>
                      <p:cNvPr id="4"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txBox="1">
            <a:spLocks/>
          </p:cNvSpPr>
          <p:nvPr/>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bg1"/>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bg1"/>
              </a:solidFill>
              <a:latin typeface="Nokia Pure Text Light" panose="020B0304040602060303" pitchFamily="34" charset="0"/>
              <a:cs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chemeClr val="bg1"/>
                </a:solidFill>
                <a:latin typeface="Nokia Pure Text Light" panose="020B0304040602060303" pitchFamily="34" charset="0"/>
                <a:cs typeface="Arial" panose="020B0604020202020204" pitchFamily="34" charset="0"/>
              </a:rPr>
              <a:t>© Nokia 2019</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35200" y="4806239"/>
            <a:ext cx="690379" cy="112048"/>
          </a:xfrm>
          <a:prstGeom prst="rect">
            <a:avLst/>
          </a:prstGeom>
        </p:spPr>
      </p:pic>
      <p:sp>
        <p:nvSpPr>
          <p:cNvPr id="13" name="TextBox 12"/>
          <p:cNvSpPr txBox="1"/>
          <p:nvPr userDrawn="1"/>
        </p:nvSpPr>
        <p:spPr>
          <a:xfrm>
            <a:off x="425731" y="4956412"/>
            <a:ext cx="1800000" cy="122237"/>
          </a:xfrm>
          <a:prstGeom prst="rect">
            <a:avLst/>
          </a:prstGeom>
          <a:noFill/>
        </p:spPr>
        <p:txBody>
          <a:bodyPr wrap="square" lIns="0" tIns="0" rIns="0" bIns="0" anchor="b">
            <a:spAutoFit/>
          </a:bodyPr>
          <a:lstStyle/>
          <a:p>
            <a:r>
              <a:rPr lang="en-GB" sz="800" dirty="0">
                <a:solidFill>
                  <a:schemeClr val="bg1"/>
                </a:solidFill>
                <a:latin typeface="+mn-lt"/>
                <a:cs typeface="Arial" charset="0"/>
              </a:rPr>
              <a:t>PUBLIC</a:t>
            </a:r>
          </a:p>
        </p:txBody>
      </p:sp>
    </p:spTree>
    <p:extLst>
      <p:ext uri="{BB962C8B-B14F-4D97-AF65-F5344CB8AC3E}">
        <p14:creationId xmlns:p14="http://schemas.microsoft.com/office/powerpoint/2010/main" val="8396643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obj" preserve="1">
  <p:cSld name="6_Title and Content">
    <p:spTree>
      <p:nvGrpSpPr>
        <p:cNvPr id="1" name=""/>
        <p:cNvGrpSpPr/>
        <p:nvPr/>
      </p:nvGrpSpPr>
      <p:grpSpPr>
        <a:xfrm>
          <a:off x="0" y="0"/>
          <a:ext cx="0" cy="0"/>
          <a:chOff x="0" y="0"/>
          <a:chExt cx="0" cy="0"/>
        </a:xfrm>
      </p:grpSpPr>
      <p:pic>
        <p:nvPicPr>
          <p:cNvPr id="12" name="Picture 19" descr="GettyImages_88831632._HDjpg.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6" name="think-cell Slide" r:id="rId5" imgW="216" imgH="216" progId="TCLayout.ActiveDocument.1">
                  <p:embed/>
                </p:oleObj>
              </mc:Choice>
              <mc:Fallback>
                <p:oleObj name="think-cell Slide" r:id="rId5" imgW="216" imgH="216" progId="TCLayout.ActiveDocument.1">
                  <p:embed/>
                  <p:pic>
                    <p:nvPicPr>
                      <p:cNvPr id="4"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txBox="1">
            <a:spLocks/>
          </p:cNvSpPr>
          <p:nvPr/>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bg1"/>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bg1"/>
              </a:solidFill>
              <a:latin typeface="Nokia Pure Text Light" panose="020B0304040602060303" pitchFamily="34" charset="0"/>
              <a:cs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chemeClr val="bg1"/>
                </a:solidFill>
                <a:latin typeface="Nokia Pure Text Light" panose="020B0304040602060303" pitchFamily="34" charset="0"/>
                <a:cs typeface="Arial" panose="020B0604020202020204" pitchFamily="34" charset="0"/>
              </a:rPr>
              <a:t>© Nokia 2019</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35200" y="4806239"/>
            <a:ext cx="690379" cy="112048"/>
          </a:xfrm>
          <a:prstGeom prst="rect">
            <a:avLst/>
          </a:prstGeom>
        </p:spPr>
      </p:pic>
      <p:sp>
        <p:nvSpPr>
          <p:cNvPr id="10" name="TextBox 9"/>
          <p:cNvSpPr txBox="1"/>
          <p:nvPr userDrawn="1"/>
        </p:nvSpPr>
        <p:spPr>
          <a:xfrm>
            <a:off x="425731" y="4956412"/>
            <a:ext cx="1800000" cy="122237"/>
          </a:xfrm>
          <a:prstGeom prst="rect">
            <a:avLst/>
          </a:prstGeom>
          <a:noFill/>
        </p:spPr>
        <p:txBody>
          <a:bodyPr wrap="square" lIns="0" tIns="0" rIns="0" bIns="0" anchor="b">
            <a:spAutoFit/>
          </a:bodyPr>
          <a:lstStyle/>
          <a:p>
            <a:r>
              <a:rPr lang="en-GB" sz="800" dirty="0">
                <a:solidFill>
                  <a:schemeClr val="bg1"/>
                </a:solidFill>
                <a:latin typeface="+mn-lt"/>
                <a:cs typeface="Arial" charset="0"/>
              </a:rPr>
              <a:t>PUBLIC</a:t>
            </a:r>
          </a:p>
        </p:txBody>
      </p:sp>
    </p:spTree>
    <p:extLst>
      <p:ext uri="{BB962C8B-B14F-4D97-AF65-F5344CB8AC3E}">
        <p14:creationId xmlns:p14="http://schemas.microsoft.com/office/powerpoint/2010/main" val="311088633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obj" preserve="1">
  <p:cSld name="2_Title and Content">
    <p:spTree>
      <p:nvGrpSpPr>
        <p:cNvPr id="1" name=""/>
        <p:cNvGrpSpPr/>
        <p:nvPr/>
      </p:nvGrpSpPr>
      <p:grpSpPr>
        <a:xfrm>
          <a:off x="0" y="0"/>
          <a:ext cx="0" cy="0"/>
          <a:chOff x="0" y="0"/>
          <a:chExt cx="0" cy="0"/>
        </a:xfrm>
      </p:grpSpPr>
      <p:pic>
        <p:nvPicPr>
          <p:cNvPr id="8" name="Picture 1"/>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5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72" name="think-cell Slide" r:id="rId5" imgW="216" imgH="216" progId="TCLayout.ActiveDocument.1">
                  <p:embed/>
                </p:oleObj>
              </mc:Choice>
              <mc:Fallback>
                <p:oleObj name="think-cell Slide" r:id="rId5" imgW="216" imgH="216" progId="TCLayout.ActiveDocument.1">
                  <p:embed/>
                  <p:pic>
                    <p:nvPicPr>
                      <p:cNvPr id="4"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txBox="1">
            <a:spLocks/>
          </p:cNvSpPr>
          <p:nvPr/>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tx2"/>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tx2"/>
              </a:solidFill>
              <a:latin typeface="Nokia Pure Text Light" panose="020B0304040602060303" pitchFamily="34" charset="0"/>
              <a:cs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rgbClr val="001135"/>
                </a:solidFill>
                <a:latin typeface="Nokia Pure Text Light" panose="020B0304040602060303" pitchFamily="34" charset="0"/>
                <a:cs typeface="Arial" panose="020B0604020202020204" pitchFamily="34" charset="0"/>
              </a:rPr>
              <a:t>© Nokia 2019</a:t>
            </a:r>
          </a:p>
        </p:txBody>
      </p:sp>
      <p:pic>
        <p:nvPicPr>
          <p:cNvPr id="9" name="Picture 8"/>
          <p:cNvPicPr>
            <a:picLocks/>
          </p:cNvPicPr>
          <p:nvPr userDrawn="1"/>
        </p:nvPicPr>
        <p:blipFill>
          <a:blip r:embed="rId7">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
        <p:nvSpPr>
          <p:cNvPr id="12" name="TextBox 11"/>
          <p:cNvSpPr txBox="1"/>
          <p:nvPr userDrawn="1"/>
        </p:nvSpPr>
        <p:spPr>
          <a:xfrm>
            <a:off x="425731" y="4956412"/>
            <a:ext cx="1800000" cy="122237"/>
          </a:xfrm>
          <a:prstGeom prst="rect">
            <a:avLst/>
          </a:prstGeom>
          <a:noFill/>
        </p:spPr>
        <p:txBody>
          <a:bodyPr wrap="square" lIns="0" tIns="0" rIns="0" bIns="0" anchor="b">
            <a:spAutoFit/>
          </a:bodyPr>
          <a:lstStyle/>
          <a:p>
            <a:r>
              <a:rPr lang="en-GB" sz="800" dirty="0">
                <a:solidFill>
                  <a:schemeClr val="tx2"/>
                </a:solidFill>
                <a:latin typeface="+mn-lt"/>
                <a:cs typeface="Arial" charset="0"/>
              </a:rPr>
              <a:t>Nokia internal use</a:t>
            </a:r>
          </a:p>
        </p:txBody>
      </p:sp>
    </p:spTree>
    <p:extLst>
      <p:ext uri="{BB962C8B-B14F-4D97-AF65-F5344CB8AC3E}">
        <p14:creationId xmlns:p14="http://schemas.microsoft.com/office/powerpoint/2010/main" val="21321606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obj" preserve="1">
  <p:cSld name="5_Title and Content">
    <p:spTree>
      <p:nvGrpSpPr>
        <p:cNvPr id="1" name=""/>
        <p:cNvGrpSpPr/>
        <p:nvPr/>
      </p:nvGrpSpPr>
      <p:grpSpPr>
        <a:xfrm>
          <a:off x="0" y="0"/>
          <a:ext cx="0" cy="0"/>
          <a:chOff x="0" y="0"/>
          <a:chExt cx="0" cy="0"/>
        </a:xfrm>
      </p:grpSpPr>
      <p:pic>
        <p:nvPicPr>
          <p:cNvPr id="10" name="Picture 1" descr="D:\_nokia\PPT\GS Executive ppt\images\stock-photo-23110185-awe.jpg"/>
          <p:cNvPicPr>
            <a:picLocks noChangeAspect="1" noChangeArrowheads="1"/>
          </p:cNvPicPr>
          <p:nvPr userDrawn="1"/>
        </p:nvPicPr>
        <p:blipFill>
          <a:blip r:embed="rId4">
            <a:extLst>
              <a:ext uri="{28A0092B-C50C-407E-A947-70E740481C1C}">
                <a14:useLocalDpi xmlns:a14="http://schemas.microsoft.com/office/drawing/2010/main" val="0"/>
              </a:ext>
            </a:extLst>
          </a:blip>
          <a:srcRect t="8044" r="1367" b="8804"/>
          <a:stretch>
            <a:fillRect/>
          </a:stretch>
        </p:blipFill>
        <p:spPr bwMode="auto">
          <a:xfrm>
            <a:off x="0" y="0"/>
            <a:ext cx="9144000" cy="5143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8" name="think-cell Slide" r:id="rId5" imgW="216" imgH="216" progId="TCLayout.ActiveDocument.1">
                  <p:embed/>
                </p:oleObj>
              </mc:Choice>
              <mc:Fallback>
                <p:oleObj name="think-cell Slide" r:id="rId5" imgW="216" imgH="216" progId="TCLayout.ActiveDocument.1">
                  <p:embed/>
                  <p:pic>
                    <p:nvPicPr>
                      <p:cNvPr id="4"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txBox="1">
            <a:spLocks/>
          </p:cNvSpPr>
          <p:nvPr/>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bg1"/>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bg1"/>
              </a:solidFill>
              <a:latin typeface="Nokia Pure Text Light" panose="020B0304040602060303" pitchFamily="34" charset="0"/>
              <a:cs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chemeClr val="bg1"/>
                </a:solidFill>
                <a:latin typeface="Nokia Pure Text Light" panose="020B0304040602060303" pitchFamily="34" charset="0"/>
                <a:cs typeface="Arial" panose="020B0604020202020204" pitchFamily="34" charset="0"/>
              </a:rPr>
              <a:t>© Nokia 2019</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35200" y="4806239"/>
            <a:ext cx="690379" cy="112048"/>
          </a:xfrm>
          <a:prstGeom prst="rect">
            <a:avLst/>
          </a:prstGeom>
        </p:spPr>
      </p:pic>
      <p:sp>
        <p:nvSpPr>
          <p:cNvPr id="13" name="TextBox 12"/>
          <p:cNvSpPr txBox="1"/>
          <p:nvPr userDrawn="1"/>
        </p:nvSpPr>
        <p:spPr>
          <a:xfrm>
            <a:off x="425731" y="4956412"/>
            <a:ext cx="1800000" cy="122237"/>
          </a:xfrm>
          <a:prstGeom prst="rect">
            <a:avLst/>
          </a:prstGeom>
          <a:noFill/>
        </p:spPr>
        <p:txBody>
          <a:bodyPr wrap="square" lIns="0" tIns="0" rIns="0" bIns="0" anchor="b">
            <a:spAutoFit/>
          </a:bodyPr>
          <a:lstStyle/>
          <a:p>
            <a:r>
              <a:rPr lang="en-GB" sz="800" dirty="0">
                <a:solidFill>
                  <a:schemeClr val="bg1"/>
                </a:solidFill>
                <a:latin typeface="+mn-lt"/>
                <a:cs typeface="Arial" charset="0"/>
              </a:rPr>
              <a:t>Nokia internal use</a:t>
            </a:r>
          </a:p>
        </p:txBody>
      </p:sp>
    </p:spTree>
    <p:extLst>
      <p:ext uri="{BB962C8B-B14F-4D97-AF65-F5344CB8AC3E}">
        <p14:creationId xmlns:p14="http://schemas.microsoft.com/office/powerpoint/2010/main" val="202293465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obj" preserve="1">
  <p:cSld name="7_Title and Content">
    <p:spTree>
      <p:nvGrpSpPr>
        <p:cNvPr id="1" name=""/>
        <p:cNvGrpSpPr/>
        <p:nvPr/>
      </p:nvGrpSpPr>
      <p:grpSpPr>
        <a:xfrm>
          <a:off x="0" y="0"/>
          <a:ext cx="0" cy="0"/>
          <a:chOff x="0" y="0"/>
          <a:chExt cx="0" cy="0"/>
        </a:xfrm>
      </p:grpSpPr>
      <p:pic>
        <p:nvPicPr>
          <p:cNvPr id="10" name="Picture 7"/>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4" name="think-cell Slide" r:id="rId5" imgW="216" imgH="216" progId="TCLayout.ActiveDocument.1">
                  <p:embed/>
                </p:oleObj>
              </mc:Choice>
              <mc:Fallback>
                <p:oleObj name="think-cell Slide" r:id="rId5" imgW="216" imgH="216" progId="TCLayout.ActiveDocument.1">
                  <p:embed/>
                  <p:pic>
                    <p:nvPicPr>
                      <p:cNvPr id="4"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txBox="1">
            <a:spLocks/>
          </p:cNvSpPr>
          <p:nvPr/>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tx2"/>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tx2"/>
              </a:solidFill>
              <a:latin typeface="Nokia Pure Text Light" panose="020B0304040602060303" pitchFamily="34" charset="0"/>
              <a:cs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rgbClr val="001135"/>
                </a:solidFill>
                <a:latin typeface="Nokia Pure Text Light" panose="020B0304040602060303" pitchFamily="34" charset="0"/>
                <a:cs typeface="Arial" panose="020B0604020202020204" pitchFamily="34" charset="0"/>
              </a:rPr>
              <a:t>© Nokia 2019</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35200" y="4806239"/>
            <a:ext cx="690379" cy="112048"/>
          </a:xfrm>
          <a:prstGeom prst="rect">
            <a:avLst/>
          </a:prstGeom>
        </p:spPr>
      </p:pic>
      <p:sp>
        <p:nvSpPr>
          <p:cNvPr id="12" name="TextBox 11"/>
          <p:cNvSpPr txBox="1"/>
          <p:nvPr userDrawn="1"/>
        </p:nvSpPr>
        <p:spPr>
          <a:xfrm>
            <a:off x="425731" y="4956412"/>
            <a:ext cx="1800000" cy="122237"/>
          </a:xfrm>
          <a:prstGeom prst="rect">
            <a:avLst/>
          </a:prstGeom>
          <a:noFill/>
        </p:spPr>
        <p:txBody>
          <a:bodyPr wrap="square" lIns="0" tIns="0" rIns="0" bIns="0" anchor="b">
            <a:spAutoFit/>
          </a:bodyPr>
          <a:lstStyle/>
          <a:p>
            <a:r>
              <a:rPr lang="en-GB" sz="800" dirty="0">
                <a:solidFill>
                  <a:srgbClr val="001135"/>
                </a:solidFill>
                <a:latin typeface="+mn-lt"/>
                <a:cs typeface="Arial" charset="0"/>
              </a:rPr>
              <a:t>PUBLIC</a:t>
            </a:r>
          </a:p>
        </p:txBody>
      </p:sp>
    </p:spTree>
    <p:extLst>
      <p:ext uri="{BB962C8B-B14F-4D97-AF65-F5344CB8AC3E}">
        <p14:creationId xmlns:p14="http://schemas.microsoft.com/office/powerpoint/2010/main" val="29112214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obj" preserve="1">
  <p:cSld name="8_Title and Content">
    <p:spTree>
      <p:nvGrpSpPr>
        <p:cNvPr id="1" name=""/>
        <p:cNvGrpSpPr/>
        <p:nvPr/>
      </p:nvGrpSpPr>
      <p:grpSpPr>
        <a:xfrm>
          <a:off x="0" y="0"/>
          <a:ext cx="0" cy="0"/>
          <a:chOff x="0" y="0"/>
          <a:chExt cx="0" cy="0"/>
        </a:xfrm>
      </p:grpSpPr>
      <p:pic>
        <p:nvPicPr>
          <p:cNvPr id="12" name="Picture 19" descr="GettyImages_88831632._HDjpg.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00" name="think-cell Slide" r:id="rId5" imgW="216" imgH="216" progId="TCLayout.ActiveDocument.1">
                  <p:embed/>
                </p:oleObj>
              </mc:Choice>
              <mc:Fallback>
                <p:oleObj name="think-cell Slide" r:id="rId5" imgW="216" imgH="216" progId="TCLayout.ActiveDocument.1">
                  <p:embed/>
                  <p:pic>
                    <p:nvPicPr>
                      <p:cNvPr id="4"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txBox="1">
            <a:spLocks/>
          </p:cNvSpPr>
          <p:nvPr/>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bg1"/>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bg1"/>
              </a:solidFill>
              <a:latin typeface="Nokia Pure Text Light" panose="020B0304040602060303" pitchFamily="34" charset="0"/>
              <a:cs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chemeClr val="bg1"/>
                </a:solidFill>
                <a:latin typeface="Nokia Pure Text Light" panose="020B0304040602060303" pitchFamily="34" charset="0"/>
                <a:cs typeface="Arial" panose="020B0604020202020204" pitchFamily="34" charset="0"/>
              </a:rPr>
              <a:t>© Nokia 2019</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35200" y="4806239"/>
            <a:ext cx="690379" cy="112048"/>
          </a:xfrm>
          <a:prstGeom prst="rect">
            <a:avLst/>
          </a:prstGeom>
        </p:spPr>
      </p:pic>
      <p:sp>
        <p:nvSpPr>
          <p:cNvPr id="10" name="TextBox 9"/>
          <p:cNvSpPr txBox="1"/>
          <p:nvPr userDrawn="1"/>
        </p:nvSpPr>
        <p:spPr>
          <a:xfrm>
            <a:off x="425731" y="4956412"/>
            <a:ext cx="1800000" cy="122237"/>
          </a:xfrm>
          <a:prstGeom prst="rect">
            <a:avLst/>
          </a:prstGeom>
          <a:noFill/>
        </p:spPr>
        <p:txBody>
          <a:bodyPr wrap="square" lIns="0" tIns="0" rIns="0" bIns="0" anchor="b">
            <a:spAutoFit/>
          </a:bodyPr>
          <a:lstStyle/>
          <a:p>
            <a:r>
              <a:rPr lang="en-GB" sz="800" dirty="0">
                <a:solidFill>
                  <a:schemeClr val="bg1"/>
                </a:solidFill>
                <a:latin typeface="+mn-lt"/>
                <a:cs typeface="Arial" charset="0"/>
              </a:rPr>
              <a:t>Nokia internal use</a:t>
            </a:r>
          </a:p>
        </p:txBody>
      </p:sp>
    </p:spTree>
    <p:extLst>
      <p:ext uri="{BB962C8B-B14F-4D97-AF65-F5344CB8AC3E}">
        <p14:creationId xmlns:p14="http://schemas.microsoft.com/office/powerpoint/2010/main" val="10663325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obj" preserve="1">
  <p:cSld name="9_Title and Content">
    <p:spTree>
      <p:nvGrpSpPr>
        <p:cNvPr id="1" name=""/>
        <p:cNvGrpSpPr/>
        <p:nvPr/>
      </p:nvGrpSpPr>
      <p:grpSpPr>
        <a:xfrm>
          <a:off x="0" y="0"/>
          <a:ext cx="0" cy="0"/>
          <a:chOff x="0" y="0"/>
          <a:chExt cx="0" cy="0"/>
        </a:xfrm>
      </p:grpSpPr>
      <p:pic>
        <p:nvPicPr>
          <p:cNvPr id="10" name="Picture 2" descr="483605169.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p:cNvSpPr/>
          <p:nvPr userDrawn="1"/>
        </p:nvSpPr>
        <p:spPr bwMode="auto">
          <a:xfrm rot="5400000">
            <a:off x="3786486" y="-3789517"/>
            <a:ext cx="1564966" cy="9144000"/>
          </a:xfrm>
          <a:prstGeom prst="rect">
            <a:avLst/>
          </a:prstGeom>
          <a:gradFill flip="none" rotWithShape="1">
            <a:gsLst>
              <a:gs pos="100000">
                <a:schemeClr val="bg1">
                  <a:alpha val="0"/>
                </a:schemeClr>
              </a:gs>
              <a:gs pos="26000">
                <a:srgbClr val="FFFFFF">
                  <a:alpha val="8700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tIns="90000" bIns="90000"/>
          <a:lstStyle/>
          <a:p>
            <a:pPr algn="ctr" eaLnBrk="1" fontAlgn="auto" hangingPunct="1">
              <a:spcBef>
                <a:spcPts val="0"/>
              </a:spcBef>
              <a:spcAft>
                <a:spcPts val="0"/>
              </a:spcAft>
              <a:defRPr/>
            </a:pPr>
            <a:endParaRPr lang="en-GB" dirty="0">
              <a:solidFill>
                <a:schemeClr val="accent4"/>
              </a:solidFill>
            </a:endParaRPr>
          </a:p>
        </p:txBody>
      </p:sp>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6" name="think-cell Slide" r:id="rId5" imgW="216" imgH="216" progId="TCLayout.ActiveDocument.1">
                  <p:embed/>
                </p:oleObj>
              </mc:Choice>
              <mc:Fallback>
                <p:oleObj name="think-cell Slide" r:id="rId5" imgW="216" imgH="216" progId="TCLayout.ActiveDocument.1">
                  <p:embed/>
                  <p:pic>
                    <p:nvPicPr>
                      <p:cNvPr id="4"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txBox="1">
            <a:spLocks/>
          </p:cNvSpPr>
          <p:nvPr/>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tx2"/>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tx2"/>
              </a:solidFill>
              <a:latin typeface="Nokia Pure Text Light" panose="020B0304040602060303" pitchFamily="34" charset="0"/>
              <a:cs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chemeClr val="tx2"/>
                </a:solidFill>
                <a:latin typeface="Nokia Pure Text Light" panose="020B0304040602060303" pitchFamily="34" charset="0"/>
                <a:cs typeface="Arial" panose="020B0604020202020204" pitchFamily="34" charset="0"/>
              </a:rPr>
              <a:t>© Nokia 2019</a:t>
            </a:r>
          </a:p>
        </p:txBody>
      </p:sp>
      <p:pic>
        <p:nvPicPr>
          <p:cNvPr id="16" name="Picture 15"/>
          <p:cNvPicPr>
            <a:picLocks/>
          </p:cNvPicPr>
          <p:nvPr userDrawn="1"/>
        </p:nvPicPr>
        <p:blipFill>
          <a:blip r:embed="rId7">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
        <p:nvSpPr>
          <p:cNvPr id="13" name="TextBox 12"/>
          <p:cNvSpPr txBox="1"/>
          <p:nvPr userDrawn="1"/>
        </p:nvSpPr>
        <p:spPr>
          <a:xfrm>
            <a:off x="425731" y="4956412"/>
            <a:ext cx="1800000" cy="122237"/>
          </a:xfrm>
          <a:prstGeom prst="rect">
            <a:avLst/>
          </a:prstGeom>
          <a:noFill/>
        </p:spPr>
        <p:txBody>
          <a:bodyPr wrap="square" lIns="0" tIns="0" rIns="0" bIns="0" anchor="b">
            <a:spAutoFit/>
          </a:bodyPr>
          <a:lstStyle/>
          <a:p>
            <a:r>
              <a:rPr lang="en-GB" sz="800" dirty="0">
                <a:solidFill>
                  <a:schemeClr val="tx2"/>
                </a:solidFill>
                <a:latin typeface="+mn-lt"/>
                <a:cs typeface="Arial" charset="0"/>
              </a:rPr>
              <a:t>Nokia internal use</a:t>
            </a:r>
          </a:p>
        </p:txBody>
      </p:sp>
    </p:spTree>
    <p:extLst>
      <p:ext uri="{BB962C8B-B14F-4D97-AF65-F5344CB8AC3E}">
        <p14:creationId xmlns:p14="http://schemas.microsoft.com/office/powerpoint/2010/main" val="635611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6_Title and Content">
    <p:spTree>
      <p:nvGrpSpPr>
        <p:cNvPr id="1" name=""/>
        <p:cNvGrpSpPr/>
        <p:nvPr/>
      </p:nvGrpSpPr>
      <p:grpSpPr>
        <a:xfrm>
          <a:off x="0" y="0"/>
          <a:ext cx="0" cy="0"/>
          <a:chOff x="0" y="0"/>
          <a:chExt cx="0" cy="0"/>
        </a:xfrm>
      </p:grpSpPr>
      <p:pic>
        <p:nvPicPr>
          <p:cNvPr id="12" name="Picture 19" descr="GettyImages_88831632._HDjpg.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1" name="think-cell Slide" r:id="rId5" imgW="216" imgH="216" progId="TCLayout.ActiveDocument.1">
                  <p:embed/>
                </p:oleObj>
              </mc:Choice>
              <mc:Fallback>
                <p:oleObj name="think-cell Slide" r:id="rId5" imgW="216" imgH="216"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txBox="1">
            <a:spLocks/>
          </p:cNvSpPr>
          <p:nvPr/>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bg1"/>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bg1"/>
              </a:solidFill>
              <a:latin typeface="Nokia Pure Text Light" panose="020B0304040602060303" pitchFamily="34" charset="0"/>
              <a:cs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chemeClr val="bg1"/>
                </a:solidFill>
                <a:latin typeface="Nokia Pure Text Light" panose="020B0304040602060303" pitchFamily="34" charset="0"/>
                <a:cs typeface="Arial" panose="020B0604020202020204" pitchFamily="34" charset="0"/>
              </a:rPr>
              <a:t>© Nokia 2019</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35200" y="4806239"/>
            <a:ext cx="690379" cy="112048"/>
          </a:xfrm>
          <a:prstGeom prst="rect">
            <a:avLst/>
          </a:prstGeom>
        </p:spPr>
      </p:pic>
      <p:sp>
        <p:nvSpPr>
          <p:cNvPr id="10" name="TextBox 9"/>
          <p:cNvSpPr txBox="1"/>
          <p:nvPr userDrawn="1"/>
        </p:nvSpPr>
        <p:spPr>
          <a:xfrm>
            <a:off x="425731" y="4956412"/>
            <a:ext cx="1800000" cy="122237"/>
          </a:xfrm>
          <a:prstGeom prst="rect">
            <a:avLst/>
          </a:prstGeom>
          <a:noFill/>
        </p:spPr>
        <p:txBody>
          <a:bodyPr wrap="square" lIns="0" tIns="0" rIns="0" bIns="0" anchor="b">
            <a:spAutoFit/>
          </a:bodyPr>
          <a:lstStyle/>
          <a:p>
            <a:r>
              <a:rPr lang="en-GB" sz="800" dirty="0">
                <a:solidFill>
                  <a:schemeClr val="bg1"/>
                </a:solidFill>
                <a:latin typeface="+mn-lt"/>
                <a:cs typeface="Arial" charset="0"/>
              </a:rPr>
              <a:t>PUBLIC</a:t>
            </a:r>
          </a:p>
        </p:txBody>
      </p:sp>
    </p:spTree>
    <p:extLst>
      <p:ext uri="{BB962C8B-B14F-4D97-AF65-F5344CB8AC3E}">
        <p14:creationId xmlns:p14="http://schemas.microsoft.com/office/powerpoint/2010/main" val="28035311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obj" preserve="1">
  <p:cSld name="10_Title and Content">
    <p:spTree>
      <p:nvGrpSpPr>
        <p:cNvPr id="1" name=""/>
        <p:cNvGrpSpPr/>
        <p:nvPr/>
      </p:nvGrpSpPr>
      <p:grpSpPr>
        <a:xfrm>
          <a:off x="0" y="0"/>
          <a:ext cx="0" cy="0"/>
          <a:chOff x="0" y="0"/>
          <a:chExt cx="0" cy="0"/>
        </a:xfrm>
      </p:grpSpPr>
      <p:sp>
        <p:nvSpPr>
          <p:cNvPr id="12" name="Rectangle 11"/>
          <p:cNvSpPr/>
          <p:nvPr userDrawn="1"/>
        </p:nvSpPr>
        <p:spPr>
          <a:xfrm>
            <a:off x="0" y="0"/>
            <a:ext cx="9144000" cy="5143500"/>
          </a:xfrm>
          <a:prstGeom prst="rect">
            <a:avLst/>
          </a:prstGeom>
          <a:blipFill>
            <a:blip r:embed="rId4"/>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tIns="90000" bIns="90000"/>
          <a:lstStyle/>
          <a:p>
            <a:pPr algn="r" eaLnBrk="1" fontAlgn="auto" hangingPunct="1">
              <a:spcBef>
                <a:spcPts val="0"/>
              </a:spcBef>
              <a:spcAft>
                <a:spcPts val="0"/>
              </a:spcAft>
              <a:defRPr/>
            </a:pPr>
            <a:endParaRPr lang="en-GB" dirty="0">
              <a:solidFill>
                <a:schemeClr val="bg1"/>
              </a:solidFill>
            </a:endParaRPr>
          </a:p>
          <a:p>
            <a:pPr algn="r" eaLnBrk="1" fontAlgn="auto" hangingPunct="1">
              <a:spcBef>
                <a:spcPts val="0"/>
              </a:spcBef>
              <a:spcAft>
                <a:spcPts val="0"/>
              </a:spcAft>
              <a:defRPr/>
            </a:pPr>
            <a:endParaRPr lang="en-GB" dirty="0">
              <a:solidFill>
                <a:schemeClr val="bg1"/>
              </a:solidFill>
            </a:endParaRPr>
          </a:p>
          <a:p>
            <a:pPr algn="r" eaLnBrk="1" fontAlgn="auto" hangingPunct="1">
              <a:spcBef>
                <a:spcPts val="0"/>
              </a:spcBef>
              <a:spcAft>
                <a:spcPts val="0"/>
              </a:spcAft>
              <a:defRPr/>
            </a:pPr>
            <a:endParaRPr lang="en-GB" dirty="0">
              <a:solidFill>
                <a:schemeClr val="bg1"/>
              </a:solidFill>
            </a:endParaRPr>
          </a:p>
        </p:txBody>
      </p:sp>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52" name="think-cell Slide" r:id="rId5" imgW="216" imgH="216" progId="TCLayout.ActiveDocument.1">
                  <p:embed/>
                </p:oleObj>
              </mc:Choice>
              <mc:Fallback>
                <p:oleObj name="think-cell Slide" r:id="rId5" imgW="216" imgH="216" progId="TCLayout.ActiveDocument.1">
                  <p:embed/>
                  <p:pic>
                    <p:nvPicPr>
                      <p:cNvPr id="4"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txBox="1">
            <a:spLocks/>
          </p:cNvSpPr>
          <p:nvPr/>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tx2"/>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tx2"/>
              </a:solidFill>
              <a:latin typeface="Nokia Pure Text Light" panose="020B0304040602060303" pitchFamily="34" charset="0"/>
              <a:cs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rgbClr val="001135"/>
                </a:solidFill>
                <a:latin typeface="Nokia Pure Text Light" panose="020B0304040602060303" pitchFamily="34" charset="0"/>
                <a:cs typeface="Arial" panose="020B0604020202020204" pitchFamily="34" charset="0"/>
              </a:rPr>
              <a:t>© Nokia 2019</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35200" y="4806239"/>
            <a:ext cx="690379" cy="112048"/>
          </a:xfrm>
          <a:prstGeom prst="rect">
            <a:avLst/>
          </a:prstGeom>
        </p:spPr>
      </p:pic>
      <p:sp>
        <p:nvSpPr>
          <p:cNvPr id="10" name="TextBox 9"/>
          <p:cNvSpPr txBox="1"/>
          <p:nvPr userDrawn="1"/>
        </p:nvSpPr>
        <p:spPr>
          <a:xfrm>
            <a:off x="425731" y="4956412"/>
            <a:ext cx="1800000" cy="122237"/>
          </a:xfrm>
          <a:prstGeom prst="rect">
            <a:avLst/>
          </a:prstGeom>
          <a:noFill/>
        </p:spPr>
        <p:txBody>
          <a:bodyPr wrap="square" lIns="0" tIns="0" rIns="0" bIns="0" anchor="b">
            <a:spAutoFit/>
          </a:bodyPr>
          <a:lstStyle/>
          <a:p>
            <a:r>
              <a:rPr lang="en-GB" sz="800" dirty="0">
                <a:solidFill>
                  <a:schemeClr val="tx2"/>
                </a:solidFill>
                <a:latin typeface="+mn-lt"/>
                <a:cs typeface="Arial" charset="0"/>
              </a:rPr>
              <a:t>Nokia internal use</a:t>
            </a:r>
          </a:p>
        </p:txBody>
      </p:sp>
    </p:spTree>
    <p:extLst>
      <p:ext uri="{BB962C8B-B14F-4D97-AF65-F5344CB8AC3E}">
        <p14:creationId xmlns:p14="http://schemas.microsoft.com/office/powerpoint/2010/main" val="303227011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obj" preserve="1">
  <p:cSld name="11_Title and Content">
    <p:spTree>
      <p:nvGrpSpPr>
        <p:cNvPr id="1" name=""/>
        <p:cNvGrpSpPr/>
        <p:nvPr/>
      </p:nvGrpSpPr>
      <p:grpSpPr>
        <a:xfrm>
          <a:off x="0" y="0"/>
          <a:ext cx="0" cy="0"/>
          <a:chOff x="0" y="0"/>
          <a:chExt cx="0" cy="0"/>
        </a:xfrm>
      </p:grpSpPr>
      <p:pic>
        <p:nvPicPr>
          <p:cNvPr id="10" name="Picture 1" descr="D:\_nokia\PPT\GS Executive ppt\images\stock-photo-22259039-we-climbed-it.jpg"/>
          <p:cNvPicPr>
            <a:picLocks noChangeAspect="1" noChangeArrowheads="1"/>
          </p:cNvPicPr>
          <p:nvPr userDrawn="1"/>
        </p:nvPicPr>
        <p:blipFill>
          <a:blip r:embed="rId4">
            <a:extLst>
              <a:ext uri="{28A0092B-C50C-407E-A947-70E740481C1C}">
                <a14:useLocalDpi xmlns:a14="http://schemas.microsoft.com/office/drawing/2010/main" val="0"/>
              </a:ext>
            </a:extLst>
          </a:blip>
          <a:srcRect t="7079" r="800" b="9975"/>
          <a:stretch>
            <a:fillRect/>
          </a:stretch>
        </p:blipFill>
        <p:spPr bwMode="auto">
          <a:xfrm>
            <a:off x="0" y="-1"/>
            <a:ext cx="9144000" cy="5143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8" name="think-cell Slide" r:id="rId5" imgW="216" imgH="216" progId="TCLayout.ActiveDocument.1">
                  <p:embed/>
                </p:oleObj>
              </mc:Choice>
              <mc:Fallback>
                <p:oleObj name="think-cell Slide" r:id="rId5" imgW="216" imgH="216" progId="TCLayout.ActiveDocument.1">
                  <p:embed/>
                  <p:pic>
                    <p:nvPicPr>
                      <p:cNvPr id="4"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txBox="1">
            <a:spLocks/>
          </p:cNvSpPr>
          <p:nvPr/>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tx2"/>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tx2"/>
              </a:solidFill>
              <a:latin typeface="Nokia Pure Text Light" panose="020B0304040602060303" pitchFamily="34" charset="0"/>
              <a:cs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rgbClr val="001135"/>
                </a:solidFill>
                <a:latin typeface="Nokia Pure Text Light" panose="020B0304040602060303" pitchFamily="34" charset="0"/>
                <a:cs typeface="Arial" panose="020B0604020202020204" pitchFamily="34" charset="0"/>
              </a:rPr>
              <a:t>© Nokia 2019</a:t>
            </a:r>
          </a:p>
        </p:txBody>
      </p:sp>
      <p:pic>
        <p:nvPicPr>
          <p:cNvPr id="15" name="Picture 14"/>
          <p:cNvPicPr>
            <a:picLocks/>
          </p:cNvPicPr>
          <p:nvPr userDrawn="1"/>
        </p:nvPicPr>
        <p:blipFill>
          <a:blip r:embed="rId7">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
        <p:nvSpPr>
          <p:cNvPr id="12" name="TextBox 11"/>
          <p:cNvSpPr txBox="1"/>
          <p:nvPr userDrawn="1"/>
        </p:nvSpPr>
        <p:spPr>
          <a:xfrm>
            <a:off x="425731" y="4956412"/>
            <a:ext cx="1800000" cy="122237"/>
          </a:xfrm>
          <a:prstGeom prst="rect">
            <a:avLst/>
          </a:prstGeom>
          <a:noFill/>
        </p:spPr>
        <p:txBody>
          <a:bodyPr wrap="square" lIns="0" tIns="0" rIns="0" bIns="0" anchor="b">
            <a:spAutoFit/>
          </a:bodyPr>
          <a:lstStyle/>
          <a:p>
            <a:r>
              <a:rPr lang="en-GB" sz="800" dirty="0">
                <a:solidFill>
                  <a:schemeClr val="tx2"/>
                </a:solidFill>
                <a:latin typeface="+mn-lt"/>
                <a:cs typeface="Arial" charset="0"/>
              </a:rPr>
              <a:t>PUBLIC</a:t>
            </a:r>
          </a:p>
        </p:txBody>
      </p:sp>
    </p:spTree>
    <p:extLst>
      <p:ext uri="{BB962C8B-B14F-4D97-AF65-F5344CB8AC3E}">
        <p14:creationId xmlns:p14="http://schemas.microsoft.com/office/powerpoint/2010/main" val="2804554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obj" preserve="1">
  <p:cSld name="12_Title and Content">
    <p:spTree>
      <p:nvGrpSpPr>
        <p:cNvPr id="1" name=""/>
        <p:cNvGrpSpPr/>
        <p:nvPr/>
      </p:nvGrpSpPr>
      <p:grpSpPr>
        <a:xfrm>
          <a:off x="0" y="0"/>
          <a:ext cx="0" cy="0"/>
          <a:chOff x="0" y="0"/>
          <a:chExt cx="0" cy="0"/>
        </a:xfrm>
      </p:grpSpPr>
      <p:pic>
        <p:nvPicPr>
          <p:cNvPr id="12" name="Picture 2" descr="497322773.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userDrawn="1"/>
        </p:nvSpPr>
        <p:spPr bwMode="auto">
          <a:xfrm rot="5400000">
            <a:off x="3789517" y="-3789515"/>
            <a:ext cx="1564966" cy="9144000"/>
          </a:xfrm>
          <a:prstGeom prst="rect">
            <a:avLst/>
          </a:prstGeom>
          <a:gradFill flip="none" rotWithShape="1">
            <a:gsLst>
              <a:gs pos="100000">
                <a:schemeClr val="bg1">
                  <a:alpha val="0"/>
                </a:schemeClr>
              </a:gs>
              <a:gs pos="0">
                <a:srgbClr val="FFFFFF">
                  <a:alpha val="8200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tIns="90000" bIns="90000"/>
          <a:lstStyle/>
          <a:p>
            <a:pPr algn="ctr" eaLnBrk="1" fontAlgn="auto" hangingPunct="1">
              <a:spcBef>
                <a:spcPts val="0"/>
              </a:spcBef>
              <a:spcAft>
                <a:spcPts val="0"/>
              </a:spcAft>
              <a:defRPr/>
            </a:pPr>
            <a:endParaRPr lang="en-GB" dirty="0">
              <a:solidFill>
                <a:schemeClr val="accent4"/>
              </a:solidFill>
            </a:endParaRPr>
          </a:p>
        </p:txBody>
      </p:sp>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04" name="think-cell Slide" r:id="rId5" imgW="216" imgH="216" progId="TCLayout.ActiveDocument.1">
                  <p:embed/>
                </p:oleObj>
              </mc:Choice>
              <mc:Fallback>
                <p:oleObj name="think-cell Slide" r:id="rId5" imgW="216" imgH="216" progId="TCLayout.ActiveDocument.1">
                  <p:embed/>
                  <p:pic>
                    <p:nvPicPr>
                      <p:cNvPr id="4"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txBox="1">
            <a:spLocks/>
          </p:cNvSpPr>
          <p:nvPr/>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tx2"/>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tx2"/>
              </a:solidFill>
              <a:latin typeface="Nokia Pure Text Light" panose="020B0304040602060303" pitchFamily="34" charset="0"/>
              <a:cs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rgbClr val="001135"/>
                </a:solidFill>
                <a:latin typeface="Nokia Pure Text Light" panose="020B0304040602060303" pitchFamily="34" charset="0"/>
                <a:cs typeface="Arial" panose="020B0604020202020204" pitchFamily="34" charset="0"/>
              </a:rPr>
              <a:t>© Nokia 2019</a:t>
            </a:r>
          </a:p>
        </p:txBody>
      </p:sp>
      <p:pic>
        <p:nvPicPr>
          <p:cNvPr id="15" name="Picture 14"/>
          <p:cNvPicPr>
            <a:picLocks/>
          </p:cNvPicPr>
          <p:nvPr userDrawn="1"/>
        </p:nvPicPr>
        <p:blipFill>
          <a:blip r:embed="rId7">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
        <p:nvSpPr>
          <p:cNvPr id="13" name="TextBox 12"/>
          <p:cNvSpPr txBox="1"/>
          <p:nvPr userDrawn="1"/>
        </p:nvSpPr>
        <p:spPr>
          <a:xfrm>
            <a:off x="425731" y="4956412"/>
            <a:ext cx="1800000" cy="122237"/>
          </a:xfrm>
          <a:prstGeom prst="rect">
            <a:avLst/>
          </a:prstGeom>
          <a:noFill/>
        </p:spPr>
        <p:txBody>
          <a:bodyPr wrap="square" lIns="0" tIns="0" rIns="0" bIns="0" anchor="b">
            <a:spAutoFit/>
          </a:bodyPr>
          <a:lstStyle/>
          <a:p>
            <a:r>
              <a:rPr lang="en-GB" sz="800" dirty="0">
                <a:solidFill>
                  <a:schemeClr val="tx2"/>
                </a:solidFill>
                <a:latin typeface="+mn-lt"/>
                <a:cs typeface="Arial" charset="0"/>
              </a:rPr>
              <a:t>Nokia internal use</a:t>
            </a:r>
          </a:p>
        </p:txBody>
      </p:sp>
    </p:spTree>
    <p:extLst>
      <p:ext uri="{BB962C8B-B14F-4D97-AF65-F5344CB8AC3E}">
        <p14:creationId xmlns:p14="http://schemas.microsoft.com/office/powerpoint/2010/main" val="16833328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obj" preserve="1">
  <p:cSld name="13_Title and Content">
    <p:spTree>
      <p:nvGrpSpPr>
        <p:cNvPr id="1" name=""/>
        <p:cNvGrpSpPr/>
        <p:nvPr/>
      </p:nvGrpSpPr>
      <p:grpSpPr>
        <a:xfrm>
          <a:off x="0" y="0"/>
          <a:ext cx="0" cy="0"/>
          <a:chOff x="0" y="0"/>
          <a:chExt cx="0" cy="0"/>
        </a:xfrm>
      </p:grpSpPr>
      <p:pic>
        <p:nvPicPr>
          <p:cNvPr id="16" name="Picture 1" descr="D:\userdata\a1sinha\Desktop\Sales Conference\GettyImages_471095445_CMYK.jpg"/>
          <p:cNvPicPr>
            <a:picLocks noChangeAspect="1" noChangeArrowheads="1"/>
          </p:cNvPicPr>
          <p:nvPr userDrawn="1"/>
        </p:nvPicPr>
        <p:blipFill>
          <a:blip r:embed="rId4">
            <a:extLst>
              <a:ext uri="{28A0092B-C50C-407E-A947-70E740481C1C}">
                <a14:useLocalDpi xmlns:a14="http://schemas.microsoft.com/office/drawing/2010/main" val="0"/>
              </a:ext>
            </a:extLst>
          </a:blip>
          <a:srcRect l="2000" t="9641" r="2000" b="9641"/>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80" name="think-cell Slide" r:id="rId5" imgW="216" imgH="216" progId="TCLayout.ActiveDocument.1">
                  <p:embed/>
                </p:oleObj>
              </mc:Choice>
              <mc:Fallback>
                <p:oleObj name="think-cell Slide" r:id="rId5" imgW="216" imgH="216" progId="TCLayout.ActiveDocument.1">
                  <p:embed/>
                  <p:pic>
                    <p:nvPicPr>
                      <p:cNvPr id="4"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txBox="1">
            <a:spLocks/>
          </p:cNvSpPr>
          <p:nvPr/>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tx2"/>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tx2"/>
              </a:solidFill>
              <a:latin typeface="Nokia Pure Text Light" panose="020B0304040602060303" pitchFamily="34" charset="0"/>
              <a:cs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rgbClr val="001135"/>
                </a:solidFill>
                <a:latin typeface="Nokia Pure Text Light" panose="020B0304040602060303" pitchFamily="34" charset="0"/>
                <a:cs typeface="Arial" panose="020B0604020202020204" pitchFamily="34" charset="0"/>
              </a:rPr>
              <a:t>© Nokia 2019</a:t>
            </a:r>
          </a:p>
        </p:txBody>
      </p:sp>
      <p:pic>
        <p:nvPicPr>
          <p:cNvPr id="15" name="Picture 14"/>
          <p:cNvPicPr>
            <a:picLocks/>
          </p:cNvPicPr>
          <p:nvPr userDrawn="1"/>
        </p:nvPicPr>
        <p:blipFill>
          <a:blip r:embed="rId7">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
        <p:nvSpPr>
          <p:cNvPr id="10" name="TextBox 9"/>
          <p:cNvSpPr txBox="1"/>
          <p:nvPr userDrawn="1"/>
        </p:nvSpPr>
        <p:spPr>
          <a:xfrm>
            <a:off x="425731" y="4956412"/>
            <a:ext cx="1800000" cy="122237"/>
          </a:xfrm>
          <a:prstGeom prst="rect">
            <a:avLst/>
          </a:prstGeom>
          <a:noFill/>
        </p:spPr>
        <p:txBody>
          <a:bodyPr wrap="square" lIns="0" tIns="0" rIns="0" bIns="0" anchor="b">
            <a:spAutoFit/>
          </a:bodyPr>
          <a:lstStyle/>
          <a:p>
            <a:r>
              <a:rPr lang="en-GB" sz="800" dirty="0">
                <a:solidFill>
                  <a:schemeClr val="tx2"/>
                </a:solidFill>
                <a:latin typeface="+mn-lt"/>
                <a:cs typeface="Arial" charset="0"/>
              </a:rPr>
              <a:t>Nokia internal use</a:t>
            </a:r>
          </a:p>
        </p:txBody>
      </p:sp>
    </p:spTree>
    <p:extLst>
      <p:ext uri="{BB962C8B-B14F-4D97-AF65-F5344CB8AC3E}">
        <p14:creationId xmlns:p14="http://schemas.microsoft.com/office/powerpoint/2010/main" val="27281879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obj" preserve="1">
  <p:cSld name="14_Title and Content">
    <p:spTree>
      <p:nvGrpSpPr>
        <p:cNvPr id="1" name=""/>
        <p:cNvGrpSpPr/>
        <p:nvPr/>
      </p:nvGrpSpPr>
      <p:grpSpPr>
        <a:xfrm>
          <a:off x="0" y="0"/>
          <a:ext cx="0" cy="0"/>
          <a:chOff x="0" y="0"/>
          <a:chExt cx="0" cy="0"/>
        </a:xfrm>
      </p:grpSpPr>
      <p:pic>
        <p:nvPicPr>
          <p:cNvPr id="10" name="Picture 3" descr="Nokia image selection-02.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3999" cy="5146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6" name="think-cell Slide" r:id="rId5" imgW="216" imgH="216" progId="TCLayout.ActiveDocument.1">
                  <p:embed/>
                </p:oleObj>
              </mc:Choice>
              <mc:Fallback>
                <p:oleObj name="think-cell Slide" r:id="rId5" imgW="216" imgH="216" progId="TCLayout.ActiveDocument.1">
                  <p:embed/>
                  <p:pic>
                    <p:nvPicPr>
                      <p:cNvPr id="4"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35200" y="4806239"/>
            <a:ext cx="690379" cy="112048"/>
          </a:xfrm>
          <a:prstGeom prst="rect">
            <a:avLst/>
          </a:prstGeom>
        </p:spPr>
      </p:pic>
      <p:sp>
        <p:nvSpPr>
          <p:cNvPr id="7" name="Slide Number Placeholder 5"/>
          <p:cNvSpPr txBox="1">
            <a:spLocks/>
          </p:cNvSpPr>
          <p:nvPr userDrawn="1"/>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tx2"/>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tx2"/>
              </a:solidFill>
              <a:latin typeface="Nokia Pure Text Light" panose="020B0304040602060303" pitchFamily="34" charset="0"/>
              <a:cs typeface="Arial" panose="020B0604020202020204" pitchFamily="34" charset="0"/>
            </a:endParaRPr>
          </a:p>
        </p:txBody>
      </p:sp>
      <p:sp>
        <p:nvSpPr>
          <p:cNvPr id="8"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rgbClr val="001135"/>
                </a:solidFill>
                <a:latin typeface="Nokia Pure Text Light" panose="020B0304040602060303" pitchFamily="34" charset="0"/>
                <a:cs typeface="Arial" panose="020B0604020202020204" pitchFamily="34" charset="0"/>
              </a:rPr>
              <a:t>© Nokia 2019</a:t>
            </a:r>
          </a:p>
        </p:txBody>
      </p:sp>
      <p:sp>
        <p:nvSpPr>
          <p:cNvPr id="11" name="TextBox 10"/>
          <p:cNvSpPr txBox="1"/>
          <p:nvPr userDrawn="1"/>
        </p:nvSpPr>
        <p:spPr>
          <a:xfrm>
            <a:off x="425731" y="4956412"/>
            <a:ext cx="1800000" cy="122237"/>
          </a:xfrm>
          <a:prstGeom prst="rect">
            <a:avLst/>
          </a:prstGeom>
          <a:noFill/>
        </p:spPr>
        <p:txBody>
          <a:bodyPr wrap="square" lIns="0" tIns="0" rIns="0" bIns="0" anchor="b">
            <a:spAutoFit/>
          </a:bodyPr>
          <a:lstStyle/>
          <a:p>
            <a:r>
              <a:rPr lang="en-GB" sz="800" dirty="0">
                <a:solidFill>
                  <a:schemeClr val="tx2"/>
                </a:solidFill>
                <a:latin typeface="+mn-lt"/>
                <a:cs typeface="Arial" charset="0"/>
              </a:rPr>
              <a:t>Nokia internal use</a:t>
            </a:r>
          </a:p>
        </p:txBody>
      </p:sp>
    </p:spTree>
    <p:extLst>
      <p:ext uri="{BB962C8B-B14F-4D97-AF65-F5344CB8AC3E}">
        <p14:creationId xmlns:p14="http://schemas.microsoft.com/office/powerpoint/2010/main" val="30898608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3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descr="iStock_000026180503X compressed group hiking.jpg"/>
          <p:cNvPicPr>
            <a:picLocks noChangeAspect="1"/>
          </p:cNvPicPr>
          <p:nvPr userDrawn="1"/>
        </p:nvPicPr>
        <p:blipFill>
          <a:blip r:embed="rId6"/>
          <a:stretch>
            <a:fillRect/>
          </a:stretch>
        </p:blipFill>
        <p:spPr>
          <a:xfrm>
            <a:off x="1" y="-8655"/>
            <a:ext cx="9143999" cy="5145758"/>
          </a:xfrm>
          <a:prstGeom prst="rect">
            <a:avLst/>
          </a:prstGeom>
        </p:spPr>
      </p:pic>
      <p:sp>
        <p:nvSpPr>
          <p:cNvPr id="6" name="Slide Number Placeholder 5"/>
          <p:cNvSpPr txBox="1">
            <a:spLocks/>
          </p:cNvSpPr>
          <p:nvPr userDrawn="1"/>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tx2"/>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tx2"/>
              </a:solidFill>
              <a:latin typeface="Nokia Pure Text Light" panose="020B0304040602060303" pitchFamily="34" charset="0"/>
              <a:cs typeface="Arial" panose="020B0604020202020204" pitchFamily="34" charset="0"/>
            </a:endParaRPr>
          </a:p>
        </p:txBody>
      </p:sp>
      <p:sp>
        <p:nvSpPr>
          <p:cNvPr id="7"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rgbClr val="001135"/>
                </a:solidFill>
                <a:latin typeface="Nokia Pure Text Light" panose="020B0304040602060303" pitchFamily="34" charset="0"/>
                <a:cs typeface="Arial" panose="020B0604020202020204" pitchFamily="34" charset="0"/>
              </a:rPr>
              <a:t>© Nokia 2019</a:t>
            </a:r>
          </a:p>
        </p:txBody>
      </p:sp>
      <p:sp>
        <p:nvSpPr>
          <p:cNvPr id="8" name="TextBox 7"/>
          <p:cNvSpPr txBox="1"/>
          <p:nvPr userDrawn="1"/>
        </p:nvSpPr>
        <p:spPr>
          <a:xfrm>
            <a:off x="425731" y="4956412"/>
            <a:ext cx="1800000" cy="122237"/>
          </a:xfrm>
          <a:prstGeom prst="rect">
            <a:avLst/>
          </a:prstGeom>
          <a:noFill/>
        </p:spPr>
        <p:txBody>
          <a:bodyPr wrap="square" lIns="0" tIns="0" rIns="0" bIns="0" anchor="b">
            <a:spAutoFit/>
          </a:bodyPr>
          <a:lstStyle/>
          <a:p>
            <a:r>
              <a:rPr lang="en-GB" sz="800" dirty="0">
                <a:solidFill>
                  <a:schemeClr val="tx2"/>
                </a:solidFill>
                <a:latin typeface="+mn-lt"/>
                <a:cs typeface="Arial" charset="0"/>
              </a:rPr>
              <a:t>Nokia internal use</a:t>
            </a:r>
          </a:p>
        </p:txBody>
      </p:sp>
    </p:spTree>
    <p:extLst>
      <p:ext uri="{BB962C8B-B14F-4D97-AF65-F5344CB8AC3E}">
        <p14:creationId xmlns:p14="http://schemas.microsoft.com/office/powerpoint/2010/main" val="42355774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49888" y="1027914"/>
            <a:ext cx="8587723" cy="3394472"/>
          </a:xfrm>
          <a:prstGeom prst="rect">
            <a:avLst/>
          </a:prstGeom>
        </p:spPr>
        <p:txBody>
          <a:bodyPr>
            <a:noAutofit/>
          </a:bodyPr>
          <a:lstStyle>
            <a:lvl1pPr>
              <a:buClr>
                <a:srgbClr val="404040"/>
              </a:buClr>
              <a:defRPr sz="1800">
                <a:solidFill>
                  <a:srgbClr val="404040"/>
                </a:solidFill>
                <a:latin typeface="Trebuchet MS" pitchFamily="34" charset="0"/>
              </a:defRPr>
            </a:lvl1pPr>
            <a:lvl2pPr marL="396875" indent="-165100">
              <a:buClr>
                <a:srgbClr val="404040"/>
              </a:buClr>
              <a:buFont typeface="Tahoma" pitchFamily="34" charset="0"/>
              <a:buChar char="­"/>
              <a:defRPr sz="1600">
                <a:solidFill>
                  <a:srgbClr val="404040"/>
                </a:solidFill>
                <a:latin typeface="Trebuchet MS" pitchFamily="34" charset="0"/>
              </a:defRPr>
            </a:lvl2pPr>
            <a:lvl3pPr marL="517525" indent="-120650">
              <a:buClr>
                <a:srgbClr val="404040"/>
              </a:buClr>
              <a:buFont typeface="Tahoma" pitchFamily="34" charset="0"/>
              <a:buChar char="­"/>
              <a:defRPr sz="1400">
                <a:solidFill>
                  <a:srgbClr val="404040"/>
                </a:solidFill>
                <a:latin typeface="Trebuchet MS" pitchFamily="34" charset="0"/>
              </a:defRPr>
            </a:lvl3pPr>
            <a:lvl4pPr marL="692150" indent="-122238">
              <a:buClr>
                <a:srgbClr val="404040"/>
              </a:buClr>
              <a:buFont typeface="Tahoma" pitchFamily="34" charset="0"/>
              <a:buChar char="­"/>
              <a:defRPr sz="1200">
                <a:solidFill>
                  <a:srgbClr val="404040"/>
                </a:solidFill>
                <a:latin typeface="Trebuchet MS" pitchFamily="34" charset="0"/>
              </a:defRPr>
            </a:lvl4pPr>
            <a:lvl5pPr marL="854075" indent="-104775">
              <a:buClr>
                <a:srgbClr val="404040"/>
              </a:buClr>
              <a:buFont typeface="Tahoma" pitchFamily="34" charset="0"/>
              <a:buChar char="­"/>
              <a:defRPr sz="1200">
                <a:solidFill>
                  <a:srgbClr val="404040"/>
                </a:solidFill>
                <a:latin typeface="Trebuchet MS"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hasCustomPrompt="1"/>
          </p:nvPr>
        </p:nvSpPr>
        <p:spPr>
          <a:xfrm>
            <a:off x="203261" y="173468"/>
            <a:ext cx="8645237" cy="857250"/>
          </a:xfrm>
        </p:spPr>
        <p:txBody>
          <a:bodyPr rtlCol="0">
            <a:noAutofit/>
          </a:bodyPr>
          <a:lstStyle>
            <a:lvl1pPr algn="l" defTabSz="914400" rtl="0" eaLnBrk="1" latinLnBrk="0" hangingPunct="1">
              <a:lnSpc>
                <a:spcPct val="100000"/>
              </a:lnSpc>
              <a:spcBef>
                <a:spcPct val="0"/>
              </a:spcBef>
              <a:buNone/>
              <a:defRPr kumimoji="0" lang="en-US" sz="2400" b="1" i="0" u="none" strike="noStrike" kern="1200" cap="all" spc="0" normalizeH="0" baseline="0" noProof="0" dirty="0">
                <a:ln>
                  <a:noFill/>
                </a:ln>
                <a:solidFill>
                  <a:srgbClr val="404040"/>
                </a:solidFill>
                <a:effectLst/>
                <a:uLnTx/>
                <a:uFillTx/>
                <a:latin typeface="Trebuchet MS" pitchFamily="34" charset="0"/>
                <a:ea typeface="+mj-ea"/>
                <a:cs typeface="+mj-cs"/>
              </a:defRPr>
            </a:lvl1pPr>
          </a:lstStyle>
          <a:p>
            <a:r>
              <a:rPr lang="en-US"/>
              <a:t>CLICK TO EDIT MASTER TITLE STYLE</a:t>
            </a:r>
            <a:endParaRPr lang="en-US" dirty="0"/>
          </a:p>
        </p:txBody>
      </p:sp>
      <p:sp>
        <p:nvSpPr>
          <p:cNvPr id="5" name="Footer Placeholder 4"/>
          <p:cNvSpPr>
            <a:spLocks noGrp="1"/>
          </p:cNvSpPr>
          <p:nvPr>
            <p:ph type="ftr" sz="quarter" idx="10"/>
          </p:nvPr>
        </p:nvSpPr>
        <p:spPr/>
        <p:txBody>
          <a:bodyPr/>
          <a:lstStyle/>
          <a:p>
            <a:r>
              <a:rPr lang="en-US">
                <a:cs typeface="Arial" panose="020B0604020202020204" pitchFamily="34" charset="0"/>
              </a:rPr>
              <a:t>Public</a:t>
            </a:r>
            <a:endParaRPr lang="en-US" dirty="0">
              <a:cs typeface="Arial" panose="020B0604020202020204" pitchFamily="34" charset="0"/>
            </a:endParaRPr>
          </a:p>
        </p:txBody>
      </p:sp>
    </p:spTree>
    <p:extLst>
      <p:ext uri="{BB962C8B-B14F-4D97-AF65-F5344CB8AC3E}">
        <p14:creationId xmlns:p14="http://schemas.microsoft.com/office/powerpoint/2010/main" val="162707140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 preserve="1">
  <p:cSld name="2_Title and Content">
    <p:spTree>
      <p:nvGrpSpPr>
        <p:cNvPr id="1" name=""/>
        <p:cNvGrpSpPr/>
        <p:nvPr/>
      </p:nvGrpSpPr>
      <p:grpSpPr>
        <a:xfrm>
          <a:off x="0" y="0"/>
          <a:ext cx="0" cy="0"/>
          <a:chOff x="0" y="0"/>
          <a:chExt cx="0" cy="0"/>
        </a:xfrm>
      </p:grpSpPr>
      <p:pic>
        <p:nvPicPr>
          <p:cNvPr id="8" name="Picture 1"/>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5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8" name="think-cell Slide" r:id="rId5" imgW="216" imgH="216" progId="TCLayout.ActiveDocument.1">
                  <p:embed/>
                </p:oleObj>
              </mc:Choice>
              <mc:Fallback>
                <p:oleObj name="think-cell Slide" r:id="rId5" imgW="216" imgH="216"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txBox="1">
            <a:spLocks/>
          </p:cNvSpPr>
          <p:nvPr/>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tx2"/>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tx2"/>
              </a:solidFill>
              <a:latin typeface="Nokia Pure Text Light" panose="020B0304040602060303" pitchFamily="34" charset="0"/>
              <a:cs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rgbClr val="001135"/>
                </a:solidFill>
                <a:latin typeface="Nokia Pure Text Light" panose="020B0304040602060303" pitchFamily="34" charset="0"/>
                <a:cs typeface="Arial" panose="020B0604020202020204" pitchFamily="34" charset="0"/>
              </a:rPr>
              <a:t>© Nokia 2019</a:t>
            </a:r>
          </a:p>
        </p:txBody>
      </p:sp>
      <p:pic>
        <p:nvPicPr>
          <p:cNvPr id="9" name="Picture 8"/>
          <p:cNvPicPr>
            <a:picLocks/>
          </p:cNvPicPr>
          <p:nvPr userDrawn="1"/>
        </p:nvPicPr>
        <p:blipFill>
          <a:blip r:embed="rId7">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
        <p:nvSpPr>
          <p:cNvPr id="12" name="TextBox 11"/>
          <p:cNvSpPr txBox="1"/>
          <p:nvPr userDrawn="1"/>
        </p:nvSpPr>
        <p:spPr>
          <a:xfrm>
            <a:off x="425731" y="4956412"/>
            <a:ext cx="1800000" cy="122237"/>
          </a:xfrm>
          <a:prstGeom prst="rect">
            <a:avLst/>
          </a:prstGeom>
          <a:noFill/>
        </p:spPr>
        <p:txBody>
          <a:bodyPr wrap="square" lIns="0" tIns="0" rIns="0" bIns="0" anchor="b">
            <a:spAutoFit/>
          </a:bodyPr>
          <a:lstStyle/>
          <a:p>
            <a:r>
              <a:rPr lang="en-GB" sz="800" kern="1200" dirty="0">
                <a:solidFill>
                  <a:schemeClr val="bg1"/>
                </a:solidFill>
                <a:latin typeface="Arial" charset="0"/>
                <a:ea typeface="ヒラギノ角ゴ Pro W3"/>
                <a:cs typeface="Arial" charset="0"/>
              </a:rPr>
              <a:t>PUBLIC</a:t>
            </a:r>
          </a:p>
        </p:txBody>
      </p:sp>
    </p:spTree>
    <p:extLst>
      <p:ext uri="{BB962C8B-B14F-4D97-AF65-F5344CB8AC3E}">
        <p14:creationId xmlns:p14="http://schemas.microsoft.com/office/powerpoint/2010/main" val="42042124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 preserve="1">
  <p:cSld name="5_Title and Content">
    <p:spTree>
      <p:nvGrpSpPr>
        <p:cNvPr id="1" name=""/>
        <p:cNvGrpSpPr/>
        <p:nvPr/>
      </p:nvGrpSpPr>
      <p:grpSpPr>
        <a:xfrm>
          <a:off x="0" y="0"/>
          <a:ext cx="0" cy="0"/>
          <a:chOff x="0" y="0"/>
          <a:chExt cx="0" cy="0"/>
        </a:xfrm>
      </p:grpSpPr>
      <p:pic>
        <p:nvPicPr>
          <p:cNvPr id="10" name="Picture 1" descr="D:\_nokia\PPT\GS Executive ppt\images\stock-photo-23110185-awe.jpg"/>
          <p:cNvPicPr>
            <a:picLocks noChangeAspect="1" noChangeArrowheads="1"/>
          </p:cNvPicPr>
          <p:nvPr userDrawn="1"/>
        </p:nvPicPr>
        <p:blipFill>
          <a:blip r:embed="rId4">
            <a:extLst>
              <a:ext uri="{28A0092B-C50C-407E-A947-70E740481C1C}">
                <a14:useLocalDpi xmlns:a14="http://schemas.microsoft.com/office/drawing/2010/main" val="0"/>
              </a:ext>
            </a:extLst>
          </a:blip>
          <a:srcRect t="8044" r="1367" b="8804"/>
          <a:stretch>
            <a:fillRect/>
          </a:stretch>
        </p:blipFill>
        <p:spPr bwMode="auto">
          <a:xfrm>
            <a:off x="0" y="0"/>
            <a:ext cx="9144000" cy="5143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2" name="think-cell Slide" r:id="rId5" imgW="216" imgH="216" progId="TCLayout.ActiveDocument.1">
                  <p:embed/>
                </p:oleObj>
              </mc:Choice>
              <mc:Fallback>
                <p:oleObj name="think-cell Slide" r:id="rId5" imgW="216" imgH="216"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txBox="1">
            <a:spLocks/>
          </p:cNvSpPr>
          <p:nvPr/>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bg1"/>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bg1"/>
              </a:solidFill>
              <a:latin typeface="Nokia Pure Text Light" panose="020B0304040602060303" pitchFamily="34" charset="0"/>
              <a:cs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chemeClr val="bg1"/>
                </a:solidFill>
                <a:latin typeface="Nokia Pure Text Light" panose="020B0304040602060303" pitchFamily="34" charset="0"/>
                <a:cs typeface="Arial" panose="020B0604020202020204" pitchFamily="34" charset="0"/>
              </a:rPr>
              <a:t>© Nokia 2019</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35200" y="4806239"/>
            <a:ext cx="690379" cy="112048"/>
          </a:xfrm>
          <a:prstGeom prst="rect">
            <a:avLst/>
          </a:prstGeom>
        </p:spPr>
      </p:pic>
      <p:sp>
        <p:nvSpPr>
          <p:cNvPr id="13" name="TextBox 12"/>
          <p:cNvSpPr txBox="1"/>
          <p:nvPr userDrawn="1"/>
        </p:nvSpPr>
        <p:spPr>
          <a:xfrm>
            <a:off x="425731" y="4956412"/>
            <a:ext cx="1800000" cy="122237"/>
          </a:xfrm>
          <a:prstGeom prst="rect">
            <a:avLst/>
          </a:prstGeom>
          <a:noFill/>
        </p:spPr>
        <p:txBody>
          <a:bodyPr wrap="square" lIns="0" tIns="0" rIns="0" bIns="0" anchor="b">
            <a:spAutoFit/>
          </a:bodyPr>
          <a:lstStyle/>
          <a:p>
            <a:r>
              <a:rPr lang="en-GB" sz="800" kern="1200" dirty="0">
                <a:solidFill>
                  <a:schemeClr val="bg1"/>
                </a:solidFill>
                <a:latin typeface="Arial" charset="0"/>
                <a:ea typeface="ヒラギノ角ゴ Pro W3"/>
                <a:cs typeface="Arial" charset="0"/>
              </a:rPr>
              <a:t>PUBLIC</a:t>
            </a:r>
          </a:p>
        </p:txBody>
      </p:sp>
    </p:spTree>
    <p:extLst>
      <p:ext uri="{BB962C8B-B14F-4D97-AF65-F5344CB8AC3E}">
        <p14:creationId xmlns:p14="http://schemas.microsoft.com/office/powerpoint/2010/main" val="34725737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 preserve="1">
  <p:cSld name="7_Title and Content">
    <p:spTree>
      <p:nvGrpSpPr>
        <p:cNvPr id="1" name=""/>
        <p:cNvGrpSpPr/>
        <p:nvPr/>
      </p:nvGrpSpPr>
      <p:grpSpPr>
        <a:xfrm>
          <a:off x="0" y="0"/>
          <a:ext cx="0" cy="0"/>
          <a:chOff x="0" y="0"/>
          <a:chExt cx="0" cy="0"/>
        </a:xfrm>
      </p:grpSpPr>
      <p:pic>
        <p:nvPicPr>
          <p:cNvPr id="10" name="Picture 7"/>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6" name="think-cell Slide" r:id="rId5" imgW="216" imgH="216" progId="TCLayout.ActiveDocument.1">
                  <p:embed/>
                </p:oleObj>
              </mc:Choice>
              <mc:Fallback>
                <p:oleObj name="think-cell Slide" r:id="rId5" imgW="216" imgH="216"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txBox="1">
            <a:spLocks/>
          </p:cNvSpPr>
          <p:nvPr/>
        </p:nvSpPr>
        <p:spPr>
          <a:xfrm>
            <a:off x="435881" y="4816913"/>
            <a:ext cx="144462" cy="122238"/>
          </a:xfrm>
          <a:prstGeom prst="rect">
            <a:avLst/>
          </a:prstGeom>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defTabSz="914400" eaLnBrk="1" hangingPunct="1"/>
            <a:fld id="{A2CF1F6A-180B-4AFE-A171-EB8CE1EAE602}" type="slidenum">
              <a:rPr lang="en-GB" altLang="en-US" sz="800" smtClean="0">
                <a:solidFill>
                  <a:schemeClr val="tx2"/>
                </a:solidFill>
                <a:latin typeface="Nokia Pure Text Light" panose="020B0304040602060303" pitchFamily="34" charset="0"/>
                <a:cs typeface="Arial" panose="020B0604020202020204" pitchFamily="34" charset="0"/>
              </a:rPr>
              <a:pPr defTabSz="914400" eaLnBrk="1" hangingPunct="1"/>
              <a:t>‹#›</a:t>
            </a:fld>
            <a:endParaRPr lang="en-GB" altLang="en-US" sz="1000" dirty="0">
              <a:solidFill>
                <a:schemeClr val="tx2"/>
              </a:solidFill>
              <a:latin typeface="Nokia Pure Text Light" panose="020B0304040602060303" pitchFamily="34" charset="0"/>
              <a:cs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417513" y="1079500"/>
            <a:ext cx="8308975" cy="3560763"/>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37"/>
          <p:cNvSpPr txBox="1">
            <a:spLocks noChangeArrowheads="1"/>
          </p:cNvSpPr>
          <p:nvPr userDrawn="1"/>
        </p:nvSpPr>
        <p:spPr bwMode="auto">
          <a:xfrm>
            <a:off x="689120" y="4816913"/>
            <a:ext cx="18002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ヒラギノ角ゴ Pro W3"/>
                <a:cs typeface="ヒラギノ角ゴ Pro W3"/>
              </a:defRPr>
            </a:lvl1pPr>
            <a:lvl2pPr marL="742950" indent="-285750">
              <a:defRPr>
                <a:solidFill>
                  <a:schemeClr val="tx1"/>
                </a:solidFill>
                <a:latin typeface="Arial" panose="020B0604020202020204" pitchFamily="34" charset="0"/>
                <a:ea typeface="ヒラギノ角ゴ Pro W3"/>
                <a:cs typeface="ヒラギノ角ゴ Pro W3"/>
              </a:defRPr>
            </a:lvl2pPr>
            <a:lvl3pPr marL="1143000" indent="-228600">
              <a:defRPr>
                <a:solidFill>
                  <a:schemeClr val="tx1"/>
                </a:solidFill>
                <a:latin typeface="Arial" panose="020B0604020202020204" pitchFamily="34" charset="0"/>
                <a:ea typeface="ヒラギノ角ゴ Pro W3"/>
                <a:cs typeface="ヒラギノ角ゴ Pro W3"/>
              </a:defRPr>
            </a:lvl3pPr>
            <a:lvl4pPr marL="1600200" indent="-228600">
              <a:defRPr>
                <a:solidFill>
                  <a:schemeClr val="tx1"/>
                </a:solidFill>
                <a:latin typeface="Arial" panose="020B0604020202020204" pitchFamily="34" charset="0"/>
                <a:ea typeface="ヒラギノ角ゴ Pro W3"/>
                <a:cs typeface="ヒラギノ角ゴ Pro W3"/>
              </a:defRPr>
            </a:lvl4pPr>
            <a:lvl5pPr marL="2057400" indent="-228600">
              <a:defRPr>
                <a:solidFill>
                  <a:schemeClr val="tx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ヒラギノ角ゴ Pro W3"/>
                <a:cs typeface="ヒラギノ角ゴ Pro W3"/>
              </a:defRPr>
            </a:lvl9pPr>
          </a:lstStyle>
          <a:p>
            <a:pPr eaLnBrk="1" hangingPunct="1"/>
            <a:r>
              <a:rPr lang="en-GB" altLang="en-US" sz="800" dirty="0">
                <a:solidFill>
                  <a:srgbClr val="001135"/>
                </a:solidFill>
                <a:latin typeface="Nokia Pure Text Light" panose="020B0304040602060303" pitchFamily="34" charset="0"/>
                <a:cs typeface="Arial" panose="020B0604020202020204" pitchFamily="34" charset="0"/>
              </a:rPr>
              <a:t>© Nokia 2019</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35200" y="4806239"/>
            <a:ext cx="690379" cy="112048"/>
          </a:xfrm>
          <a:prstGeom prst="rect">
            <a:avLst/>
          </a:prstGeom>
        </p:spPr>
      </p:pic>
      <p:sp>
        <p:nvSpPr>
          <p:cNvPr id="12" name="TextBox 11"/>
          <p:cNvSpPr txBox="1"/>
          <p:nvPr userDrawn="1"/>
        </p:nvSpPr>
        <p:spPr>
          <a:xfrm>
            <a:off x="425731" y="4956412"/>
            <a:ext cx="1800000" cy="122237"/>
          </a:xfrm>
          <a:prstGeom prst="rect">
            <a:avLst/>
          </a:prstGeom>
          <a:noFill/>
        </p:spPr>
        <p:txBody>
          <a:bodyPr wrap="square" lIns="0" tIns="0" rIns="0" bIns="0" anchor="b">
            <a:spAutoFit/>
          </a:bodyPr>
          <a:lstStyle/>
          <a:p>
            <a:r>
              <a:rPr lang="en-GB" sz="800" kern="1200" dirty="0">
                <a:solidFill>
                  <a:schemeClr val="bg1"/>
                </a:solidFill>
                <a:latin typeface="Arial" charset="0"/>
                <a:ea typeface="ヒラギノ角ゴ Pro W3"/>
                <a:cs typeface="Arial" charset="0"/>
              </a:rPr>
              <a:t>PUBLIC</a:t>
            </a:r>
          </a:p>
        </p:txBody>
      </p:sp>
    </p:spTree>
    <p:extLst>
      <p:ext uri="{BB962C8B-B14F-4D97-AF65-F5344CB8AC3E}">
        <p14:creationId xmlns:p14="http://schemas.microsoft.com/office/powerpoint/2010/main" val="22740891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10"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image" Target="../media/image1.emf"/><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oleObject" Target="../embeddings/oleObject18.bin"/><Relationship Id="rId2" Type="http://schemas.openxmlformats.org/officeDocument/2006/relationships/slideLayout" Target="../slideLayouts/slideLayout29.xml"/><Relationship Id="rId16" Type="http://schemas.openxmlformats.org/officeDocument/2006/relationships/tags" Target="../tags/tag20.xml"/><Relationship Id="rId20" Type="http://schemas.microsoft.com/office/2007/relationships/hdphoto" Target="../media/hdphoto1.wdp"/><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vmlDrawing" Target="../drawings/vmlDrawing18.vml"/><Relationship Id="rId10" Type="http://schemas.openxmlformats.org/officeDocument/2006/relationships/slideLayout" Target="../slideLayouts/slideLayout37.xml"/><Relationship Id="rId19" Type="http://schemas.openxmlformats.org/officeDocument/2006/relationships/image" Target="../media/image21.png"/><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5" Type="http://schemas.openxmlformats.org/officeDocument/2006/relationships/slideLayout" Target="../slideLayouts/slideLayout45.xml"/><Relationship Id="rId10" Type="http://schemas.openxmlformats.org/officeDocument/2006/relationships/image" Target="../media/image23.png"/><Relationship Id="rId4" Type="http://schemas.openxmlformats.org/officeDocument/2006/relationships/slideLayout" Target="../slideLayouts/slideLayout44.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tags" Target="../tags/tag23.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vmlDrawing" Target="../drawings/vmlDrawing21.v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image" Target="../media/image2.png"/><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image" Target="../media/image1.emf"/><Relationship Id="rId10" Type="http://schemas.openxmlformats.org/officeDocument/2006/relationships/slideLayout" Target="../slideLayouts/slideLayout58.xml"/><Relationship Id="rId19" Type="http://schemas.openxmlformats.org/officeDocument/2006/relationships/theme" Target="../theme/theme5.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193FC4-D914-48CF-82EF-4DB422C3E769}"/>
              </a:ext>
            </a:extLst>
          </p:cNvPr>
          <p:cNvGraphicFramePr>
            <a:graphicFrameLocks noChangeAspect="1"/>
          </p:cNvGraphicFramePr>
          <p:nvPr userDrawn="1">
            <p:custDataLst>
              <p:tags r:id="rId21"/>
            </p:custDataLst>
            <p:extLst>
              <p:ext uri="{D42A27DB-BD31-4B8C-83A1-F6EECF244321}">
                <p14:modId xmlns:p14="http://schemas.microsoft.com/office/powerpoint/2010/main" val="39112402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32"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1035" name="Line 9"/>
          <p:cNvSpPr>
            <a:spLocks noChangeShapeType="1"/>
          </p:cNvSpPr>
          <p:nvPr/>
        </p:nvSpPr>
        <p:spPr bwMode="auto">
          <a:xfrm flipV="1">
            <a:off x="-179388" y="593725"/>
            <a:ext cx="9502776" cy="0"/>
          </a:xfrm>
          <a:prstGeom prst="line">
            <a:avLst/>
          </a:prstGeom>
          <a:noFill/>
          <a:ln w="3175">
            <a:solidFill>
              <a:schemeClr val="bg1"/>
            </a:solidFill>
            <a:round/>
            <a:headEnd/>
            <a:tailEnd/>
          </a:ln>
          <a:extLst/>
        </p:spPr>
        <p:txBody>
          <a:bodyPr anchor="ctr"/>
          <a:lstStyle/>
          <a:p>
            <a:pPr>
              <a:defRPr/>
            </a:pPr>
            <a:endParaRPr lang="en-GB" dirty="0">
              <a:latin typeface="+mj-lt"/>
            </a:endParaRPr>
          </a:p>
        </p:txBody>
      </p:sp>
      <p:sp>
        <p:nvSpPr>
          <p:cNvPr id="1036" name="Line 12"/>
          <p:cNvSpPr>
            <a:spLocks noChangeShapeType="1"/>
          </p:cNvSpPr>
          <p:nvPr/>
        </p:nvSpPr>
        <p:spPr bwMode="auto">
          <a:xfrm flipV="1">
            <a:off x="-179388" y="4914900"/>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37" name="Line 9"/>
          <p:cNvSpPr>
            <a:spLocks noChangeShapeType="1"/>
          </p:cNvSpPr>
          <p:nvPr/>
        </p:nvSpPr>
        <p:spPr bwMode="auto">
          <a:xfrm flipV="1">
            <a:off x="-179388" y="846138"/>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38" name="Line 10"/>
          <p:cNvSpPr>
            <a:spLocks noChangeShapeType="1"/>
          </p:cNvSpPr>
          <p:nvPr/>
        </p:nvSpPr>
        <p:spPr bwMode="auto">
          <a:xfrm flipH="1">
            <a:off x="-179388" y="1092200"/>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39" name="Line 12"/>
          <p:cNvSpPr>
            <a:spLocks noChangeShapeType="1"/>
          </p:cNvSpPr>
          <p:nvPr/>
        </p:nvSpPr>
        <p:spPr bwMode="auto">
          <a:xfrm flipV="1">
            <a:off x="-179388" y="4665663"/>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40" name="Line 13"/>
          <p:cNvSpPr>
            <a:spLocks noChangeShapeType="1"/>
          </p:cNvSpPr>
          <p:nvPr/>
        </p:nvSpPr>
        <p:spPr bwMode="auto">
          <a:xfrm flipH="1" flipV="1">
            <a:off x="-179388" y="4400550"/>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41" name="Line 14"/>
          <p:cNvSpPr>
            <a:spLocks noChangeShapeType="1"/>
          </p:cNvSpPr>
          <p:nvPr/>
        </p:nvSpPr>
        <p:spPr bwMode="auto">
          <a:xfrm>
            <a:off x="-179388" y="280988"/>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42" name="Line 15"/>
          <p:cNvSpPr>
            <a:spLocks noChangeShapeType="1"/>
          </p:cNvSpPr>
          <p:nvPr/>
        </p:nvSpPr>
        <p:spPr bwMode="auto">
          <a:xfrm flipH="1">
            <a:off x="417513" y="-147638"/>
            <a:ext cx="0" cy="5508626"/>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43" name="Line 17"/>
          <p:cNvSpPr>
            <a:spLocks noChangeShapeType="1"/>
          </p:cNvSpPr>
          <p:nvPr/>
        </p:nvSpPr>
        <p:spPr bwMode="auto">
          <a:xfrm>
            <a:off x="8656638" y="-147638"/>
            <a:ext cx="0" cy="5508626"/>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2" name="Title Placeholder 1"/>
          <p:cNvSpPr>
            <a:spLocks noGrp="1"/>
          </p:cNvSpPr>
          <p:nvPr>
            <p:ph type="title"/>
          </p:nvPr>
        </p:nvSpPr>
        <p:spPr bwMode="auto">
          <a:xfrm>
            <a:off x="417513" y="279400"/>
            <a:ext cx="8229600" cy="3111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4" name="Text Placeholder 2"/>
          <p:cNvSpPr>
            <a:spLocks noGrp="1"/>
          </p:cNvSpPr>
          <p:nvPr>
            <p:ph type="body" idx="1"/>
          </p:nvPr>
        </p:nvSpPr>
        <p:spPr bwMode="auto">
          <a:xfrm>
            <a:off x="417513" y="1089025"/>
            <a:ext cx="8229600" cy="33067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2" name="Text Box 9"/>
          <p:cNvSpPr txBox="1">
            <a:spLocks noChangeArrowheads="1"/>
          </p:cNvSpPr>
          <p:nvPr/>
        </p:nvSpPr>
        <p:spPr bwMode="auto">
          <a:xfrm>
            <a:off x="0" y="-352425"/>
            <a:ext cx="9144000" cy="233362"/>
          </a:xfrm>
          <a:prstGeom prst="rect">
            <a:avLst/>
          </a:prstGeom>
          <a:noFill/>
          <a:ln w="19050" algn="ctr">
            <a:noFill/>
            <a:miter lim="800000"/>
            <a:headEnd/>
            <a:tailEnd/>
          </a:ln>
          <a:effectLst/>
        </p:spPr>
        <p:txBody>
          <a:bodyPr lIns="90000" tIns="46800" rIns="90000" bIns="46800">
            <a:spAutoFit/>
          </a:bodyPr>
          <a:lstStyle/>
          <a:p>
            <a:pPr algn="ctr" defTabSz="762000" eaLnBrk="0" hangingPunct="0">
              <a:lnSpc>
                <a:spcPct val="90000"/>
              </a:lnSpc>
              <a:spcBef>
                <a:spcPct val="50000"/>
              </a:spcBef>
              <a:buClr>
                <a:schemeClr val="accent1"/>
              </a:buClr>
              <a:defRPr/>
            </a:pPr>
            <a:r>
              <a:rPr lang="en-US" sz="1000" dirty="0">
                <a:solidFill>
                  <a:schemeClr val="tx2"/>
                </a:solidFill>
                <a:latin typeface="+mn-lt"/>
                <a:cs typeface="+mn-cs"/>
              </a:rPr>
              <a:t>To change the document information in the footer, press [Alt + F8] and use the “FORM“</a:t>
            </a:r>
          </a:p>
        </p:txBody>
      </p:sp>
      <p:sp>
        <p:nvSpPr>
          <p:cNvPr id="41" name="AutoShape 57"/>
          <p:cNvSpPr>
            <a:spLocks noChangeArrowheads="1"/>
          </p:cNvSpPr>
          <p:nvPr/>
        </p:nvSpPr>
        <p:spPr bwMode="auto">
          <a:xfrm>
            <a:off x="1474788" y="5208588"/>
            <a:ext cx="287337" cy="134937"/>
          </a:xfrm>
          <a:prstGeom prst="roundRect">
            <a:avLst>
              <a:gd name="adj" fmla="val 16667"/>
            </a:avLst>
          </a:prstGeom>
          <a:solidFill>
            <a:schemeClr val="accent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18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65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145</a:t>
            </a:r>
          </a:p>
        </p:txBody>
      </p:sp>
      <p:sp>
        <p:nvSpPr>
          <p:cNvPr id="43" name="AutoShape 58"/>
          <p:cNvSpPr>
            <a:spLocks noChangeArrowheads="1"/>
          </p:cNvSpPr>
          <p:nvPr/>
        </p:nvSpPr>
        <p:spPr bwMode="auto">
          <a:xfrm>
            <a:off x="1835150" y="5208588"/>
            <a:ext cx="287338" cy="134937"/>
          </a:xfrm>
          <a:prstGeom prst="roundRect">
            <a:avLst>
              <a:gd name="adj" fmla="val 16667"/>
            </a:avLst>
          </a:prstGeom>
          <a:solidFill>
            <a:schemeClr val="accent2"/>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0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201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255</a:t>
            </a:r>
          </a:p>
        </p:txBody>
      </p:sp>
      <p:sp>
        <p:nvSpPr>
          <p:cNvPr id="44" name="AutoShape 59"/>
          <p:cNvSpPr>
            <a:spLocks noChangeArrowheads="1"/>
          </p:cNvSpPr>
          <p:nvPr/>
        </p:nvSpPr>
        <p:spPr bwMode="auto">
          <a:xfrm>
            <a:off x="2195513" y="5208588"/>
            <a:ext cx="287337" cy="134937"/>
          </a:xfrm>
          <a:prstGeom prst="roundRect">
            <a:avLst>
              <a:gd name="adj" fmla="val 16667"/>
            </a:avLst>
          </a:prstGeom>
          <a:solidFill>
            <a:schemeClr val="accent4"/>
          </a:solidFill>
          <a:ln w="9525">
            <a:noFill/>
            <a:round/>
            <a:headEnd/>
            <a:tailEnd/>
          </a:ln>
          <a:effectLst/>
        </p:spPr>
        <p:txBody>
          <a:bodyPr lIns="18000" tIns="252000" rIns="18000" bIns="0"/>
          <a:lstStyle/>
          <a:p>
            <a:pPr defTabSz="604647" eaLnBrk="0" fontAlgn="auto" hangingPunct="0">
              <a:spcBef>
                <a:spcPct val="15000"/>
              </a:spcBef>
              <a:spcAft>
                <a:spcPct val="15000"/>
              </a:spcAft>
              <a:buClr>
                <a:schemeClr val="accent1"/>
              </a:buClr>
              <a:defRPr/>
            </a:pPr>
            <a:r>
              <a:rPr lang="en-US" sz="500" b="1" dirty="0">
                <a:solidFill>
                  <a:schemeClr val="tx2"/>
                </a:solidFill>
                <a:latin typeface="+mn-lt"/>
                <a:cs typeface="Arial" panose="020B0604020202020204" pitchFamily="34" charset="0"/>
              </a:rPr>
              <a:t>R 104</a:t>
            </a:r>
            <a:br>
              <a:rPr lang="en-US" sz="500" b="1" dirty="0">
                <a:solidFill>
                  <a:schemeClr val="tx2"/>
                </a:solidFill>
                <a:latin typeface="+mn-lt"/>
                <a:cs typeface="Arial" panose="020B0604020202020204" pitchFamily="34" charset="0"/>
              </a:rPr>
            </a:br>
            <a:r>
              <a:rPr lang="en-US" sz="500" b="1" dirty="0">
                <a:solidFill>
                  <a:schemeClr val="tx2"/>
                </a:solidFill>
                <a:latin typeface="+mn-lt"/>
                <a:cs typeface="Arial" panose="020B0604020202020204" pitchFamily="34" charset="0"/>
              </a:rPr>
              <a:t>G 113</a:t>
            </a:r>
            <a:br>
              <a:rPr lang="en-US" sz="500" b="1" dirty="0">
                <a:solidFill>
                  <a:schemeClr val="tx2"/>
                </a:solidFill>
                <a:latin typeface="+mn-lt"/>
                <a:cs typeface="Arial" panose="020B0604020202020204" pitchFamily="34" charset="0"/>
              </a:rPr>
            </a:br>
            <a:r>
              <a:rPr lang="en-US" sz="500" b="1" dirty="0">
                <a:solidFill>
                  <a:schemeClr val="tx2"/>
                </a:solidFill>
                <a:latin typeface="+mn-lt"/>
                <a:cs typeface="Arial" panose="020B0604020202020204" pitchFamily="34" charset="0"/>
              </a:rPr>
              <a:t>B 122</a:t>
            </a:r>
          </a:p>
        </p:txBody>
      </p:sp>
      <p:sp>
        <p:nvSpPr>
          <p:cNvPr id="45" name="AutoShape 64"/>
          <p:cNvSpPr>
            <a:spLocks noChangeArrowheads="1"/>
          </p:cNvSpPr>
          <p:nvPr/>
        </p:nvSpPr>
        <p:spPr bwMode="auto">
          <a:xfrm>
            <a:off x="2916238" y="5208588"/>
            <a:ext cx="287337" cy="134937"/>
          </a:xfrm>
          <a:prstGeom prst="roundRect">
            <a:avLst>
              <a:gd name="adj" fmla="val 16667"/>
            </a:avLst>
          </a:prstGeom>
          <a:solidFill>
            <a:schemeClr val="accent6"/>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216</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217</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218</a:t>
            </a:r>
          </a:p>
        </p:txBody>
      </p:sp>
      <p:sp>
        <p:nvSpPr>
          <p:cNvPr id="46" name="AutoShape 65"/>
          <p:cNvSpPr>
            <a:spLocks noChangeArrowheads="1"/>
          </p:cNvSpPr>
          <p:nvPr/>
        </p:nvSpPr>
        <p:spPr bwMode="auto">
          <a:xfrm>
            <a:off x="2555875" y="5208588"/>
            <a:ext cx="287338" cy="134937"/>
          </a:xfrm>
          <a:prstGeom prst="roundRect">
            <a:avLst>
              <a:gd name="adj" fmla="val 16667"/>
            </a:avLst>
          </a:prstGeom>
          <a:solidFill>
            <a:schemeClr val="accent4"/>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168</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187</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192</a:t>
            </a:r>
          </a:p>
        </p:txBody>
      </p:sp>
      <p:sp>
        <p:nvSpPr>
          <p:cNvPr id="47" name="Rectangle 68"/>
          <p:cNvSpPr>
            <a:spLocks noChangeArrowheads="1"/>
          </p:cNvSpPr>
          <p:nvPr/>
        </p:nvSpPr>
        <p:spPr bwMode="auto">
          <a:xfrm>
            <a:off x="647700" y="5208588"/>
            <a:ext cx="792163" cy="134937"/>
          </a:xfrm>
          <a:prstGeom prst="rect">
            <a:avLst/>
          </a:prstGeom>
          <a:noFill/>
          <a:ln>
            <a:noFill/>
          </a:ln>
          <a:extLst/>
        </p:spPr>
        <p:txBody>
          <a:bodyPr wrap="none" lIns="18000" tIns="0" rIns="36000" bIns="0" anchor="ctr"/>
          <a:lstStyle/>
          <a:p>
            <a:pPr algn="r" defTabSz="603250" eaLnBrk="0" hangingPunct="0">
              <a:spcBef>
                <a:spcPct val="15000"/>
              </a:spcBef>
              <a:spcAft>
                <a:spcPct val="15000"/>
              </a:spcAft>
              <a:buClr>
                <a:schemeClr val="accent1"/>
              </a:buClr>
              <a:defRPr/>
            </a:pPr>
            <a:r>
              <a:rPr lang="en-GB" sz="500" b="1" dirty="0">
                <a:solidFill>
                  <a:schemeClr val="tx2"/>
                </a:solidFill>
                <a:latin typeface="Arial" panose="020B0604020202020204" pitchFamily="34" charset="0"/>
                <a:cs typeface="Arial" panose="020B0604020202020204" pitchFamily="34" charset="0"/>
              </a:rPr>
              <a:t>Core and </a:t>
            </a:r>
            <a:r>
              <a:rPr lang="en-GB" sz="500" b="1" dirty="0">
                <a:solidFill>
                  <a:schemeClr val="tx2"/>
                </a:solidFill>
                <a:latin typeface="+mn-lt"/>
                <a:cs typeface="Arial" panose="020B0604020202020204" pitchFamily="34" charset="0"/>
              </a:rPr>
              <a:t>background</a:t>
            </a:r>
            <a:r>
              <a:rPr lang="en-GB" sz="500" b="1" dirty="0">
                <a:solidFill>
                  <a:schemeClr val="tx2"/>
                </a:solidFill>
                <a:latin typeface="Arial" panose="020B0604020202020204" pitchFamily="34" charset="0"/>
                <a:cs typeface="Arial" panose="020B0604020202020204" pitchFamily="34" charset="0"/>
              </a:rPr>
              <a:t> colors:</a:t>
            </a:r>
          </a:p>
        </p:txBody>
      </p:sp>
      <p:sp>
        <p:nvSpPr>
          <p:cNvPr id="48" name="AutoShape 57"/>
          <p:cNvSpPr>
            <a:spLocks noChangeArrowheads="1"/>
          </p:cNvSpPr>
          <p:nvPr/>
        </p:nvSpPr>
        <p:spPr bwMode="auto">
          <a:xfrm>
            <a:off x="1474788" y="5208588"/>
            <a:ext cx="287337" cy="134937"/>
          </a:xfrm>
          <a:prstGeom prst="roundRect">
            <a:avLst>
              <a:gd name="adj" fmla="val 16667"/>
            </a:avLst>
          </a:prstGeom>
          <a:solidFill>
            <a:schemeClr val="tx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49" name="AutoShape 58"/>
          <p:cNvSpPr>
            <a:spLocks noChangeArrowheads="1"/>
          </p:cNvSpPr>
          <p:nvPr/>
        </p:nvSpPr>
        <p:spPr bwMode="auto">
          <a:xfrm>
            <a:off x="1835150" y="5208588"/>
            <a:ext cx="287338" cy="134937"/>
          </a:xfrm>
          <a:prstGeom prst="roundRect">
            <a:avLst>
              <a:gd name="adj" fmla="val 16667"/>
            </a:avLst>
          </a:prstGeom>
          <a:solidFill>
            <a:schemeClr val="accent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50" name="AutoShape 59"/>
          <p:cNvSpPr>
            <a:spLocks noChangeArrowheads="1"/>
          </p:cNvSpPr>
          <p:nvPr/>
        </p:nvSpPr>
        <p:spPr bwMode="auto">
          <a:xfrm>
            <a:off x="2195513" y="5208588"/>
            <a:ext cx="287337" cy="134937"/>
          </a:xfrm>
          <a:prstGeom prst="roundRect">
            <a:avLst>
              <a:gd name="adj" fmla="val 16667"/>
            </a:avLst>
          </a:prstGeom>
          <a:solidFill>
            <a:schemeClr val="bg2"/>
          </a:solidFill>
          <a:ln w="9525">
            <a:noFill/>
            <a:round/>
            <a:headEnd/>
            <a:tailEnd/>
          </a:ln>
          <a:effectLst/>
        </p:spPr>
        <p:txBody>
          <a:bodyPr lIns="18000" tIns="252000" rIns="18000" bIns="0"/>
          <a:lstStyle/>
          <a:p>
            <a:pPr defTabSz="604647" eaLnBrk="0" fontAlgn="auto" hangingPunct="0">
              <a:spcBef>
                <a:spcPct val="15000"/>
              </a:spcBef>
              <a:spcAft>
                <a:spcPct val="15000"/>
              </a:spcAft>
              <a:buClr>
                <a:schemeClr val="accent1"/>
              </a:buClr>
              <a:defRPr/>
            </a:pPr>
            <a:endParaRPr lang="en-US" sz="500" b="1" dirty="0">
              <a:solidFill>
                <a:schemeClr val="tx2"/>
              </a:solidFill>
              <a:latin typeface="+mn-lt"/>
              <a:ea typeface="+mn-ea"/>
              <a:cs typeface="Arial" panose="020B0604020202020204" pitchFamily="34" charset="0"/>
            </a:endParaRPr>
          </a:p>
        </p:txBody>
      </p:sp>
      <p:sp>
        <p:nvSpPr>
          <p:cNvPr id="51" name="Rectangle 68"/>
          <p:cNvSpPr>
            <a:spLocks noChangeArrowheads="1"/>
          </p:cNvSpPr>
          <p:nvPr/>
        </p:nvSpPr>
        <p:spPr bwMode="auto">
          <a:xfrm>
            <a:off x="647700" y="5208588"/>
            <a:ext cx="792163" cy="134937"/>
          </a:xfrm>
          <a:prstGeom prst="rect">
            <a:avLst/>
          </a:prstGeom>
          <a:noFill/>
          <a:ln>
            <a:noFill/>
          </a:ln>
          <a:extLst/>
        </p:spPr>
        <p:txBody>
          <a:bodyPr wrap="none" lIns="18000" tIns="0" rIns="36000" bIns="0" anchor="ctr"/>
          <a:lstStyle/>
          <a:p>
            <a:pPr algn="r" defTabSz="603250" eaLnBrk="0" hangingPunct="0">
              <a:spcBef>
                <a:spcPct val="15000"/>
              </a:spcBef>
              <a:spcAft>
                <a:spcPct val="15000"/>
              </a:spcAft>
              <a:buClr>
                <a:schemeClr val="accent1"/>
              </a:buClr>
              <a:defRPr/>
            </a:pPr>
            <a:endParaRPr lang="en-GB" sz="500" b="1" dirty="0">
              <a:solidFill>
                <a:schemeClr val="tx2"/>
              </a:solidFill>
              <a:latin typeface="Arial" panose="020B0604020202020204" pitchFamily="34" charset="0"/>
              <a:cs typeface="Arial" panose="020B0604020202020204" pitchFamily="34" charset="0"/>
            </a:endParaRPr>
          </a:p>
        </p:txBody>
      </p:sp>
      <p:sp>
        <p:nvSpPr>
          <p:cNvPr id="52" name="Date Placeholder 3"/>
          <p:cNvSpPr txBox="1">
            <a:spLocks/>
          </p:cNvSpPr>
          <p:nvPr/>
        </p:nvSpPr>
        <p:spPr>
          <a:xfrm>
            <a:off x="722313" y="4643438"/>
            <a:ext cx="687387" cy="138112"/>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800" dirty="0">
                <a:solidFill>
                  <a:schemeClr val="bg2"/>
                </a:solidFill>
                <a:latin typeface="+mn-lt"/>
                <a:cs typeface="Arial" panose="020B0604020202020204" pitchFamily="34" charset="0"/>
              </a:rPr>
              <a:t>05.10.2019</a:t>
            </a:r>
          </a:p>
        </p:txBody>
      </p:sp>
      <p:sp>
        <p:nvSpPr>
          <p:cNvPr id="53" name="Slide Number Placeholder 5"/>
          <p:cNvSpPr txBox="1">
            <a:spLocks/>
          </p:cNvSpPr>
          <p:nvPr/>
        </p:nvSpPr>
        <p:spPr>
          <a:xfrm>
            <a:off x="433388" y="4643438"/>
            <a:ext cx="144462" cy="138112"/>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9182688-34E5-4CE3-92E4-C88AA8BD9750}" type="slidenum">
              <a:rPr lang="en-GB" sz="800" smtClean="0">
                <a:solidFill>
                  <a:schemeClr val="bg2"/>
                </a:solidFill>
                <a:latin typeface="+mn-lt"/>
                <a:cs typeface="Arial" panose="020B0604020202020204" pitchFamily="34" charset="0"/>
              </a:rPr>
              <a:pPr>
                <a:defRPr/>
              </a:pPr>
              <a:t>‹#›</a:t>
            </a:fld>
            <a:endParaRPr lang="en-GB" dirty="0">
              <a:solidFill>
                <a:schemeClr val="bg2"/>
              </a:solidFill>
              <a:latin typeface="+mn-lt"/>
              <a:cs typeface="Arial" panose="020B0604020202020204" pitchFamily="34" charset="0"/>
            </a:endParaRPr>
          </a:p>
        </p:txBody>
      </p:sp>
      <p:pic>
        <p:nvPicPr>
          <p:cNvPr id="1050" name="Picture 1"/>
          <p:cNvPicPr>
            <a:picLocks/>
          </p:cNvPicPr>
          <p:nvPr/>
        </p:nvPicPr>
        <p:blipFill>
          <a:blip r:embed="rId24"/>
          <a:srcRect/>
          <a:stretch>
            <a:fillRect/>
          </a:stretch>
        </p:blipFill>
        <p:spPr bwMode="auto">
          <a:xfrm>
            <a:off x="7959725" y="4672013"/>
            <a:ext cx="701675" cy="115887"/>
          </a:xfrm>
          <a:prstGeom prst="rect">
            <a:avLst/>
          </a:prstGeom>
          <a:noFill/>
          <a:ln w="9525">
            <a:noFill/>
            <a:miter lim="800000"/>
            <a:headEnd/>
            <a:tailEnd/>
          </a:ln>
        </p:spPr>
      </p:pic>
      <p:sp>
        <p:nvSpPr>
          <p:cNvPr id="3" name="TextBox 2"/>
          <p:cNvSpPr txBox="1"/>
          <p:nvPr/>
        </p:nvSpPr>
        <p:spPr>
          <a:xfrm>
            <a:off x="1341438" y="4643438"/>
            <a:ext cx="6078537" cy="122237"/>
          </a:xfrm>
          <a:prstGeom prst="rect">
            <a:avLst/>
          </a:prstGeom>
          <a:noFill/>
        </p:spPr>
        <p:txBody>
          <a:bodyPr lIns="0" tIns="0" rIns="0" bIns="0">
            <a:spAutoFit/>
          </a:bodyPr>
          <a:lstStyle/>
          <a:p>
            <a:r>
              <a:rPr lang="en-GB" sz="800" dirty="0">
                <a:solidFill>
                  <a:schemeClr val="bg2"/>
                </a:solidFill>
                <a:latin typeface="+mn-lt"/>
                <a:cs typeface="Arial" charset="0"/>
              </a:rPr>
              <a:t>© Nokia 2019      Szilard Szell – Bug Hunting in Practice</a:t>
            </a:r>
          </a:p>
        </p:txBody>
      </p:sp>
      <p:sp>
        <p:nvSpPr>
          <p:cNvPr id="28" name="TextBox 27"/>
          <p:cNvSpPr txBox="1"/>
          <p:nvPr/>
        </p:nvSpPr>
        <p:spPr>
          <a:xfrm>
            <a:off x="1503363" y="4749800"/>
            <a:ext cx="6078537" cy="338138"/>
          </a:xfrm>
          <a:prstGeom prst="rect">
            <a:avLst/>
          </a:prstGeom>
          <a:noFill/>
        </p:spPr>
        <p:txBody>
          <a:bodyPr>
            <a:spAutoFit/>
          </a:bodyPr>
          <a:lstStyle/>
          <a:p>
            <a:pPr>
              <a:defRPr/>
            </a:pPr>
            <a:endParaRPr lang="en-GB" sz="800" dirty="0">
              <a:solidFill>
                <a:schemeClr val="bg2"/>
              </a:solidFill>
              <a:latin typeface="Arial" panose="020B0604020202020204" pitchFamily="34" charset="0"/>
              <a:ea typeface="+mn-ea"/>
              <a:cs typeface="Arial" panose="020B0604020202020204" pitchFamily="34" charset="0"/>
            </a:endParaRPr>
          </a:p>
          <a:p>
            <a:pPr>
              <a:defRPr/>
            </a:pPr>
            <a:endParaRPr lang="en-GB" sz="800" dirty="0">
              <a:solidFill>
                <a:schemeClr val="bg2"/>
              </a:solidFill>
              <a:latin typeface="Arial" panose="020B0604020202020204" pitchFamily="34" charset="0"/>
              <a:ea typeface="+mn-ea"/>
              <a:cs typeface="Arial" panose="020B0604020202020204" pitchFamily="34" charset="0"/>
            </a:endParaRPr>
          </a:p>
        </p:txBody>
      </p:sp>
      <p:sp>
        <p:nvSpPr>
          <p:cNvPr id="29" name="TextBox 28"/>
          <p:cNvSpPr txBox="1"/>
          <p:nvPr/>
        </p:nvSpPr>
        <p:spPr>
          <a:xfrm>
            <a:off x="432000" y="4787900"/>
            <a:ext cx="6078537" cy="123825"/>
          </a:xfrm>
          <a:prstGeom prst="rect">
            <a:avLst/>
          </a:prstGeom>
          <a:noFill/>
        </p:spPr>
        <p:txBody>
          <a:bodyPr lIns="0" tIns="0" rIns="0" bIns="0">
            <a:spAutoFit/>
          </a:bodyPr>
          <a:lstStyle/>
          <a:p>
            <a:pPr>
              <a:defRPr/>
            </a:pPr>
            <a:r>
              <a:rPr lang="en-GB" sz="800">
                <a:solidFill>
                  <a:schemeClr val="bg2"/>
                </a:solidFill>
                <a:latin typeface="+mn-lt"/>
                <a:cs typeface="Arial" charset="0"/>
              </a:rPr>
              <a:t>Public</a:t>
            </a:r>
            <a:endParaRPr lang="en-GB" sz="800" dirty="0">
              <a:solidFill>
                <a:schemeClr val="bg2"/>
              </a:solidFill>
              <a:latin typeface="+mn-lt"/>
              <a:cs typeface="Arial" charset="0"/>
            </a:endParaRPr>
          </a:p>
        </p:txBody>
      </p:sp>
    </p:spTree>
  </p:cSld>
  <p:clrMap bg1="lt1" tx1="dk1" bg2="lt2" tx2="dk2" accent1="accent1" accent2="accent2" accent3="accent3" accent4="accent4" accent5="accent5" accent6="accent6" hlink="hlink" folHlink="folHlink"/>
  <p:sldLayoutIdLst>
    <p:sldLayoutId id="2147483806" r:id="rId1"/>
    <p:sldLayoutId id="2147483805" r:id="rId2"/>
    <p:sldLayoutId id="2147483804" r:id="rId3"/>
    <p:sldLayoutId id="2147483813" r:id="rId4"/>
    <p:sldLayoutId id="2147483814" r:id="rId5"/>
    <p:sldLayoutId id="2147483815" r:id="rId6"/>
    <p:sldLayoutId id="2147483817" r:id="rId7"/>
    <p:sldLayoutId id="2147483818" r:id="rId8"/>
    <p:sldLayoutId id="2147483819" r:id="rId9"/>
    <p:sldLayoutId id="2147483820" r:id="rId10"/>
    <p:sldLayoutId id="2147483821" r:id="rId11"/>
    <p:sldLayoutId id="2147483822" r:id="rId12"/>
    <p:sldLayoutId id="2147483823" r:id="rId13"/>
    <p:sldLayoutId id="2147483824" r:id="rId14"/>
    <p:sldLayoutId id="2147483825" r:id="rId15"/>
    <p:sldLayoutId id="2147483826" r:id="rId16"/>
    <p:sldLayoutId id="2147483827" r:id="rId17"/>
    <p:sldLayoutId id="2147483828" r:id="rId18"/>
  </p:sldLayoutIdLst>
  <p:hf sldNum="0" hdr="0" dt="0"/>
  <p:txStyles>
    <p:titleStyle>
      <a:lvl1pPr algn="l" defTabSz="457200" rtl="0" eaLnBrk="1" fontAlgn="base" hangingPunct="1">
        <a:spcBef>
          <a:spcPct val="0"/>
        </a:spcBef>
        <a:spcAft>
          <a:spcPct val="0"/>
        </a:spcAft>
        <a:defRPr sz="1800" b="1" kern="1200">
          <a:solidFill>
            <a:schemeClr val="tx1"/>
          </a:solidFill>
          <a:latin typeface="+mj-lt"/>
          <a:ea typeface="ヒラギノ角ゴ Pro W3"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35" name="Line 9"/>
          <p:cNvSpPr>
            <a:spLocks noChangeShapeType="1"/>
          </p:cNvSpPr>
          <p:nvPr/>
        </p:nvSpPr>
        <p:spPr bwMode="auto">
          <a:xfrm flipV="1">
            <a:off x="-179388" y="593725"/>
            <a:ext cx="9502776" cy="0"/>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36" name="Line 12"/>
          <p:cNvSpPr>
            <a:spLocks noChangeShapeType="1"/>
          </p:cNvSpPr>
          <p:nvPr/>
        </p:nvSpPr>
        <p:spPr bwMode="auto">
          <a:xfrm flipV="1">
            <a:off x="-179388" y="4914900"/>
            <a:ext cx="9502776" cy="0"/>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37" name="Line 9"/>
          <p:cNvSpPr>
            <a:spLocks noChangeShapeType="1"/>
          </p:cNvSpPr>
          <p:nvPr/>
        </p:nvSpPr>
        <p:spPr bwMode="auto">
          <a:xfrm flipV="1">
            <a:off x="-179388" y="846138"/>
            <a:ext cx="9502776" cy="0"/>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38" name="Line 10"/>
          <p:cNvSpPr>
            <a:spLocks noChangeShapeType="1"/>
          </p:cNvSpPr>
          <p:nvPr/>
        </p:nvSpPr>
        <p:spPr bwMode="auto">
          <a:xfrm flipH="1">
            <a:off x="-179388" y="1092200"/>
            <a:ext cx="9502776" cy="0"/>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39" name="Line 12"/>
          <p:cNvSpPr>
            <a:spLocks noChangeShapeType="1"/>
          </p:cNvSpPr>
          <p:nvPr/>
        </p:nvSpPr>
        <p:spPr bwMode="auto">
          <a:xfrm flipV="1">
            <a:off x="-179388" y="4665663"/>
            <a:ext cx="9502776" cy="0"/>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40" name="Line 13"/>
          <p:cNvSpPr>
            <a:spLocks noChangeShapeType="1"/>
          </p:cNvSpPr>
          <p:nvPr/>
        </p:nvSpPr>
        <p:spPr bwMode="auto">
          <a:xfrm flipH="1" flipV="1">
            <a:off x="-179388" y="4400550"/>
            <a:ext cx="9502776" cy="0"/>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41" name="Line 14"/>
          <p:cNvSpPr>
            <a:spLocks noChangeShapeType="1"/>
          </p:cNvSpPr>
          <p:nvPr/>
        </p:nvSpPr>
        <p:spPr bwMode="auto">
          <a:xfrm>
            <a:off x="-179388" y="280988"/>
            <a:ext cx="9502776" cy="0"/>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42" name="Line 15"/>
          <p:cNvSpPr>
            <a:spLocks noChangeShapeType="1"/>
          </p:cNvSpPr>
          <p:nvPr/>
        </p:nvSpPr>
        <p:spPr bwMode="auto">
          <a:xfrm flipH="1">
            <a:off x="417513" y="-147638"/>
            <a:ext cx="0" cy="5508626"/>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43" name="Line 17"/>
          <p:cNvSpPr>
            <a:spLocks noChangeShapeType="1"/>
          </p:cNvSpPr>
          <p:nvPr/>
        </p:nvSpPr>
        <p:spPr bwMode="auto">
          <a:xfrm>
            <a:off x="8656638" y="-147638"/>
            <a:ext cx="0" cy="5508626"/>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6155" name="Title Placeholder 1"/>
          <p:cNvSpPr>
            <a:spLocks noGrp="1"/>
          </p:cNvSpPr>
          <p:nvPr>
            <p:ph type="title"/>
          </p:nvPr>
        </p:nvSpPr>
        <p:spPr bwMode="auto">
          <a:xfrm>
            <a:off x="417513" y="288000"/>
            <a:ext cx="8229600" cy="3111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6156" name="Text Placeholder 2"/>
          <p:cNvSpPr>
            <a:spLocks noGrp="1"/>
          </p:cNvSpPr>
          <p:nvPr>
            <p:ph type="body" idx="1"/>
          </p:nvPr>
        </p:nvSpPr>
        <p:spPr bwMode="auto">
          <a:xfrm>
            <a:off x="417513" y="1089025"/>
            <a:ext cx="8229600" cy="33067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2" name="Text Box 9"/>
          <p:cNvSpPr txBox="1">
            <a:spLocks noChangeArrowheads="1"/>
          </p:cNvSpPr>
          <p:nvPr/>
        </p:nvSpPr>
        <p:spPr bwMode="auto">
          <a:xfrm>
            <a:off x="0" y="-352425"/>
            <a:ext cx="9144000" cy="233362"/>
          </a:xfrm>
          <a:prstGeom prst="rect">
            <a:avLst/>
          </a:prstGeom>
          <a:noFill/>
          <a:ln w="19050" algn="ctr">
            <a:noFill/>
            <a:miter lim="800000"/>
            <a:headEnd/>
            <a:tailEnd/>
          </a:ln>
          <a:effectLst/>
        </p:spPr>
        <p:txBody>
          <a:bodyPr lIns="90000" tIns="46800" rIns="90000" bIns="46800">
            <a:spAutoFit/>
          </a:bodyPr>
          <a:lstStyle/>
          <a:p>
            <a:pPr algn="ctr" defTabSz="762000" eaLnBrk="0" hangingPunct="0">
              <a:lnSpc>
                <a:spcPct val="90000"/>
              </a:lnSpc>
              <a:spcBef>
                <a:spcPct val="50000"/>
              </a:spcBef>
              <a:buClr>
                <a:schemeClr val="accent1"/>
              </a:buClr>
              <a:defRPr/>
            </a:pPr>
            <a:r>
              <a:rPr lang="en-US" sz="1000" dirty="0">
                <a:solidFill>
                  <a:schemeClr val="tx2"/>
                </a:solidFill>
                <a:latin typeface="+mn-lt"/>
                <a:cs typeface="+mn-cs"/>
              </a:rPr>
              <a:t>To change the document information in the footer, press [Alt + F8] and use the “FORM“</a:t>
            </a:r>
          </a:p>
        </p:txBody>
      </p:sp>
      <p:sp>
        <p:nvSpPr>
          <p:cNvPr id="41" name="AutoShape 57"/>
          <p:cNvSpPr>
            <a:spLocks noChangeArrowheads="1"/>
          </p:cNvSpPr>
          <p:nvPr/>
        </p:nvSpPr>
        <p:spPr bwMode="auto">
          <a:xfrm>
            <a:off x="1474788" y="5208588"/>
            <a:ext cx="287337" cy="134937"/>
          </a:xfrm>
          <a:prstGeom prst="roundRect">
            <a:avLst>
              <a:gd name="adj" fmla="val 16667"/>
            </a:avLst>
          </a:prstGeom>
          <a:solidFill>
            <a:schemeClr val="bg2"/>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18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65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145</a:t>
            </a:r>
          </a:p>
        </p:txBody>
      </p:sp>
      <p:sp>
        <p:nvSpPr>
          <p:cNvPr id="43" name="AutoShape 58"/>
          <p:cNvSpPr>
            <a:spLocks noChangeArrowheads="1"/>
          </p:cNvSpPr>
          <p:nvPr/>
        </p:nvSpPr>
        <p:spPr bwMode="auto">
          <a:xfrm>
            <a:off x="1835150" y="5208588"/>
            <a:ext cx="287338" cy="134937"/>
          </a:xfrm>
          <a:prstGeom prst="roundRect">
            <a:avLst>
              <a:gd name="adj" fmla="val 16667"/>
            </a:avLst>
          </a:prstGeom>
          <a:solidFill>
            <a:schemeClr val="accent2"/>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0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201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255</a:t>
            </a:r>
          </a:p>
        </p:txBody>
      </p:sp>
      <p:sp>
        <p:nvSpPr>
          <p:cNvPr id="44" name="AutoShape 59"/>
          <p:cNvSpPr>
            <a:spLocks noChangeArrowheads="1"/>
          </p:cNvSpPr>
          <p:nvPr/>
        </p:nvSpPr>
        <p:spPr bwMode="auto">
          <a:xfrm>
            <a:off x="2195513" y="5208588"/>
            <a:ext cx="287337" cy="134937"/>
          </a:xfrm>
          <a:prstGeom prst="roundRect">
            <a:avLst>
              <a:gd name="adj" fmla="val 16667"/>
            </a:avLst>
          </a:prstGeom>
          <a:solidFill>
            <a:schemeClr val="accent4"/>
          </a:solidFill>
          <a:ln w="9525">
            <a:noFill/>
            <a:round/>
            <a:headEnd/>
            <a:tailEnd/>
          </a:ln>
          <a:effectLst/>
        </p:spPr>
        <p:txBody>
          <a:bodyPr lIns="18000" tIns="252000" rIns="18000" bIns="0"/>
          <a:lstStyle/>
          <a:p>
            <a:pPr defTabSz="604647" eaLnBrk="0" fontAlgn="auto" hangingPunct="0">
              <a:spcBef>
                <a:spcPct val="15000"/>
              </a:spcBef>
              <a:spcAft>
                <a:spcPct val="15000"/>
              </a:spcAft>
              <a:buClr>
                <a:schemeClr val="accent1"/>
              </a:buClr>
              <a:defRPr/>
            </a:pPr>
            <a:r>
              <a:rPr lang="en-US" sz="500" b="1" dirty="0">
                <a:solidFill>
                  <a:schemeClr val="tx2"/>
                </a:solidFill>
                <a:latin typeface="+mn-lt"/>
                <a:cs typeface="Arial" panose="020B0604020202020204" pitchFamily="34" charset="0"/>
              </a:rPr>
              <a:t>R 104</a:t>
            </a:r>
            <a:br>
              <a:rPr lang="en-US" sz="500" b="1" dirty="0">
                <a:solidFill>
                  <a:schemeClr val="tx2"/>
                </a:solidFill>
                <a:latin typeface="+mn-lt"/>
                <a:cs typeface="Arial" panose="020B0604020202020204" pitchFamily="34" charset="0"/>
              </a:rPr>
            </a:br>
            <a:r>
              <a:rPr lang="en-US" sz="500" b="1" dirty="0">
                <a:solidFill>
                  <a:schemeClr val="tx2"/>
                </a:solidFill>
                <a:latin typeface="+mn-lt"/>
                <a:cs typeface="Arial" panose="020B0604020202020204" pitchFamily="34" charset="0"/>
              </a:rPr>
              <a:t>G 113</a:t>
            </a:r>
            <a:br>
              <a:rPr lang="en-US" sz="500" b="1" dirty="0">
                <a:solidFill>
                  <a:schemeClr val="tx2"/>
                </a:solidFill>
                <a:latin typeface="+mn-lt"/>
                <a:cs typeface="Arial" panose="020B0604020202020204" pitchFamily="34" charset="0"/>
              </a:rPr>
            </a:br>
            <a:r>
              <a:rPr lang="en-US" sz="500" b="1" dirty="0">
                <a:solidFill>
                  <a:schemeClr val="tx2"/>
                </a:solidFill>
                <a:latin typeface="+mn-lt"/>
                <a:cs typeface="Arial" panose="020B0604020202020204" pitchFamily="34" charset="0"/>
              </a:rPr>
              <a:t>B 122</a:t>
            </a:r>
          </a:p>
        </p:txBody>
      </p:sp>
      <p:sp>
        <p:nvSpPr>
          <p:cNvPr id="45" name="AutoShape 64"/>
          <p:cNvSpPr>
            <a:spLocks noChangeArrowheads="1"/>
          </p:cNvSpPr>
          <p:nvPr/>
        </p:nvSpPr>
        <p:spPr bwMode="auto">
          <a:xfrm>
            <a:off x="2916238" y="5208588"/>
            <a:ext cx="287337" cy="134937"/>
          </a:xfrm>
          <a:prstGeom prst="roundRect">
            <a:avLst>
              <a:gd name="adj" fmla="val 16667"/>
            </a:avLst>
          </a:prstGeom>
          <a:solidFill>
            <a:schemeClr val="accent6"/>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216</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217</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218</a:t>
            </a:r>
          </a:p>
        </p:txBody>
      </p:sp>
      <p:sp>
        <p:nvSpPr>
          <p:cNvPr id="46" name="AutoShape 65"/>
          <p:cNvSpPr>
            <a:spLocks noChangeArrowheads="1"/>
          </p:cNvSpPr>
          <p:nvPr/>
        </p:nvSpPr>
        <p:spPr bwMode="auto">
          <a:xfrm>
            <a:off x="2555875" y="5208588"/>
            <a:ext cx="287338" cy="134937"/>
          </a:xfrm>
          <a:prstGeom prst="roundRect">
            <a:avLst>
              <a:gd name="adj" fmla="val 16667"/>
            </a:avLst>
          </a:prstGeom>
          <a:solidFill>
            <a:schemeClr val="accent4"/>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168</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187</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192</a:t>
            </a:r>
          </a:p>
        </p:txBody>
      </p:sp>
      <p:sp>
        <p:nvSpPr>
          <p:cNvPr id="47" name="Rectangle 68"/>
          <p:cNvSpPr>
            <a:spLocks noChangeArrowheads="1"/>
          </p:cNvSpPr>
          <p:nvPr/>
        </p:nvSpPr>
        <p:spPr bwMode="auto">
          <a:xfrm>
            <a:off x="647700" y="5208588"/>
            <a:ext cx="792163" cy="134937"/>
          </a:xfrm>
          <a:prstGeom prst="rect">
            <a:avLst/>
          </a:prstGeom>
          <a:noFill/>
          <a:ln>
            <a:noFill/>
          </a:ln>
          <a:extLst/>
        </p:spPr>
        <p:txBody>
          <a:bodyPr wrap="none" lIns="18000" tIns="0" rIns="36000" bIns="0" anchor="ctr"/>
          <a:lstStyle/>
          <a:p>
            <a:pPr algn="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Core and background colors:</a:t>
            </a:r>
          </a:p>
        </p:txBody>
      </p:sp>
      <p:sp>
        <p:nvSpPr>
          <p:cNvPr id="48" name="AutoShape 57"/>
          <p:cNvSpPr>
            <a:spLocks noChangeArrowheads="1"/>
          </p:cNvSpPr>
          <p:nvPr/>
        </p:nvSpPr>
        <p:spPr bwMode="auto">
          <a:xfrm>
            <a:off x="1474788" y="5208588"/>
            <a:ext cx="287337" cy="134937"/>
          </a:xfrm>
          <a:prstGeom prst="roundRect">
            <a:avLst>
              <a:gd name="adj" fmla="val 16667"/>
            </a:avLst>
          </a:prstGeom>
          <a:solidFill>
            <a:schemeClr val="tx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49" name="AutoShape 58"/>
          <p:cNvSpPr>
            <a:spLocks noChangeArrowheads="1"/>
          </p:cNvSpPr>
          <p:nvPr/>
        </p:nvSpPr>
        <p:spPr bwMode="auto">
          <a:xfrm>
            <a:off x="1835150" y="5208588"/>
            <a:ext cx="287338" cy="134937"/>
          </a:xfrm>
          <a:prstGeom prst="roundRect">
            <a:avLst>
              <a:gd name="adj" fmla="val 16667"/>
            </a:avLst>
          </a:prstGeom>
          <a:solidFill>
            <a:schemeClr val="accent2"/>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50" name="AutoShape 59"/>
          <p:cNvSpPr>
            <a:spLocks noChangeArrowheads="1"/>
          </p:cNvSpPr>
          <p:nvPr/>
        </p:nvSpPr>
        <p:spPr bwMode="auto">
          <a:xfrm>
            <a:off x="2195513" y="5208588"/>
            <a:ext cx="287337" cy="134937"/>
          </a:xfrm>
          <a:prstGeom prst="roundRect">
            <a:avLst>
              <a:gd name="adj" fmla="val 16667"/>
            </a:avLst>
          </a:prstGeom>
          <a:solidFill>
            <a:schemeClr val="bg2"/>
          </a:solidFill>
          <a:ln w="9525">
            <a:noFill/>
            <a:round/>
            <a:headEnd/>
            <a:tailEnd/>
          </a:ln>
          <a:effectLst/>
        </p:spPr>
        <p:txBody>
          <a:bodyPr lIns="18000" tIns="252000" rIns="18000" bIns="0"/>
          <a:lstStyle/>
          <a:p>
            <a:pPr defTabSz="604647" eaLnBrk="0" fontAlgn="auto" hangingPunct="0">
              <a:spcBef>
                <a:spcPct val="15000"/>
              </a:spcBef>
              <a:spcAft>
                <a:spcPct val="15000"/>
              </a:spcAft>
              <a:buClr>
                <a:schemeClr val="accent1"/>
              </a:buClr>
              <a:defRPr/>
            </a:pPr>
            <a:endParaRPr lang="en-US" sz="500" b="1" dirty="0">
              <a:solidFill>
                <a:schemeClr val="tx2"/>
              </a:solidFill>
              <a:latin typeface="+mn-lt"/>
              <a:ea typeface="+mn-ea"/>
              <a:cs typeface="Arial" panose="020B0604020202020204" pitchFamily="34" charset="0"/>
            </a:endParaRPr>
          </a:p>
        </p:txBody>
      </p:sp>
      <p:sp>
        <p:nvSpPr>
          <p:cNvPr id="51" name="Rectangle 68"/>
          <p:cNvSpPr>
            <a:spLocks noChangeArrowheads="1"/>
          </p:cNvSpPr>
          <p:nvPr/>
        </p:nvSpPr>
        <p:spPr bwMode="auto">
          <a:xfrm>
            <a:off x="647700" y="5208588"/>
            <a:ext cx="792163" cy="134937"/>
          </a:xfrm>
          <a:prstGeom prst="rect">
            <a:avLst/>
          </a:prstGeom>
          <a:noFill/>
          <a:ln>
            <a:noFill/>
          </a:ln>
          <a:extLst/>
        </p:spPr>
        <p:txBody>
          <a:bodyPr wrap="none" lIns="18000" tIns="0" rIns="36000" bIns="0" anchor="ctr"/>
          <a:lstStyle/>
          <a:p>
            <a:pPr algn="r" defTabSz="603250" eaLnBrk="0" hangingPunct="0">
              <a:spcBef>
                <a:spcPct val="15000"/>
              </a:spcBef>
              <a:spcAft>
                <a:spcPct val="15000"/>
              </a:spcAft>
              <a:buClr>
                <a:schemeClr val="accent1"/>
              </a:buClr>
              <a:defRPr/>
            </a:pPr>
            <a:endParaRPr lang="en-GB" sz="500" b="1" dirty="0">
              <a:solidFill>
                <a:schemeClr val="tx2"/>
              </a:solidFill>
              <a:latin typeface="+mn-lt"/>
              <a:cs typeface="Arial" panose="020B0604020202020204" pitchFamily="34" charset="0"/>
            </a:endParaRPr>
          </a:p>
        </p:txBody>
      </p:sp>
      <p:sp>
        <p:nvSpPr>
          <p:cNvPr id="52" name="Date Placeholder 3"/>
          <p:cNvSpPr txBox="1">
            <a:spLocks/>
          </p:cNvSpPr>
          <p:nvPr/>
        </p:nvSpPr>
        <p:spPr>
          <a:xfrm>
            <a:off x="722313" y="4643438"/>
            <a:ext cx="687387" cy="138112"/>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FEF4778-5275-AF44-A3A2-413C53D52084}" type="datetime1">
              <a:rPr lang="en-GB" sz="800" smtClean="0">
                <a:latin typeface="+mn-lt"/>
                <a:cs typeface="Arial" panose="020B0604020202020204" pitchFamily="34" charset="0"/>
              </a:rPr>
              <a:pPr>
                <a:defRPr/>
              </a:pPr>
              <a:t>17/03/2019</a:t>
            </a:fld>
            <a:endParaRPr lang="en-GB" sz="800" dirty="0">
              <a:latin typeface="+mn-lt"/>
              <a:cs typeface="Arial" panose="020B0604020202020204" pitchFamily="34" charset="0"/>
            </a:endParaRPr>
          </a:p>
        </p:txBody>
      </p:sp>
      <p:sp>
        <p:nvSpPr>
          <p:cNvPr id="53" name="Slide Number Placeholder 5"/>
          <p:cNvSpPr txBox="1">
            <a:spLocks/>
          </p:cNvSpPr>
          <p:nvPr/>
        </p:nvSpPr>
        <p:spPr>
          <a:xfrm>
            <a:off x="433388" y="4643438"/>
            <a:ext cx="144462" cy="138112"/>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latin typeface="+mn-lt"/>
                <a:cs typeface="Arial" panose="020B0604020202020204" pitchFamily="34" charset="0"/>
              </a:rPr>
              <a:pPr>
                <a:defRPr/>
              </a:pPr>
              <a:t>‹#›</a:t>
            </a:fld>
            <a:endParaRPr lang="en-GB" dirty="0">
              <a:latin typeface="+mn-lt"/>
              <a:cs typeface="Arial" panose="020B0604020202020204" pitchFamily="34" charset="0"/>
            </a:endParaRPr>
          </a:p>
        </p:txBody>
      </p:sp>
      <p:sp>
        <p:nvSpPr>
          <p:cNvPr id="2" name="TextBox 1"/>
          <p:cNvSpPr txBox="1"/>
          <p:nvPr/>
        </p:nvSpPr>
        <p:spPr>
          <a:xfrm>
            <a:off x="1342800" y="4644000"/>
            <a:ext cx="5048250" cy="122237"/>
          </a:xfrm>
          <a:prstGeom prst="rect">
            <a:avLst/>
          </a:prstGeom>
          <a:noFill/>
        </p:spPr>
        <p:txBody>
          <a:bodyPr lIns="0" tIns="0" rIns="0" bIns="0">
            <a:spAutoFit/>
          </a:bodyPr>
          <a:lstStyle/>
          <a:p>
            <a:r>
              <a:rPr lang="en-GB" sz="800">
                <a:solidFill>
                  <a:schemeClr val="bg1"/>
                </a:solidFill>
                <a:latin typeface="+mn-lt"/>
                <a:cs typeface="Arial" charset="0"/>
              </a:rPr>
              <a:t>© Nokia 2014      1.0   Kuisma_Szell   - DocID</a:t>
            </a:r>
          </a:p>
        </p:txBody>
      </p:sp>
      <p:sp>
        <p:nvSpPr>
          <p:cNvPr id="27" name="TextBox 26"/>
          <p:cNvSpPr txBox="1"/>
          <p:nvPr/>
        </p:nvSpPr>
        <p:spPr>
          <a:xfrm>
            <a:off x="432000" y="4788000"/>
            <a:ext cx="5048250" cy="123825"/>
          </a:xfrm>
          <a:prstGeom prst="rect">
            <a:avLst/>
          </a:prstGeom>
          <a:noFill/>
        </p:spPr>
        <p:txBody>
          <a:bodyPr lIns="0" tIns="0" rIns="0" bIns="0">
            <a:spAutoFit/>
          </a:bodyPr>
          <a:lstStyle/>
          <a:p>
            <a:pPr>
              <a:defRPr/>
            </a:pPr>
            <a:r>
              <a:rPr lang="en-GB" sz="800">
                <a:solidFill>
                  <a:schemeClr val="bg1"/>
                </a:solidFill>
                <a:latin typeface="+mn-lt"/>
                <a:ea typeface="+mn-ea"/>
                <a:cs typeface="Arial" panose="020B0604020202020204" pitchFamily="34" charset="0"/>
              </a:rPr>
              <a:t>Public</a:t>
            </a:r>
            <a:endParaRPr lang="en-GB" sz="800" dirty="0">
              <a:solidFill>
                <a:schemeClr val="bg1"/>
              </a:solidFill>
              <a:latin typeface="+mn-lt"/>
              <a:ea typeface="+mn-ea"/>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6" r:id="rId5"/>
    <p:sldLayoutId id="2147483811" r:id="rId6"/>
    <p:sldLayoutId id="2147483812" r:id="rId7"/>
    <p:sldLayoutId id="2147483829" r:id="rId8"/>
    <p:sldLayoutId id="2147483830" r:id="rId9"/>
  </p:sldLayoutIdLst>
  <p:hf sldNum="0" hdr="0" dt="0"/>
  <p:txStyles>
    <p:titleStyle>
      <a:lvl1pPr algn="l" defTabSz="457200" rtl="0" eaLnBrk="0" fontAlgn="base" hangingPunct="0">
        <a:spcBef>
          <a:spcPct val="0"/>
        </a:spcBef>
        <a:spcAft>
          <a:spcPct val="0"/>
        </a:spcAft>
        <a:defRPr sz="1800" b="1" kern="1200">
          <a:solidFill>
            <a:schemeClr val="tx2"/>
          </a:solidFill>
          <a:latin typeface="+mj-lt"/>
          <a:ea typeface="ヒラギノ角ゴ Pro W3" charset="0"/>
          <a:cs typeface="Arial"/>
        </a:defRPr>
      </a:lvl1pPr>
      <a:lvl2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2pPr>
      <a:lvl3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3pPr>
      <a:lvl4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4pPr>
      <a:lvl5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0" fontAlgn="base" hangingPunct="0">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0" fontAlgn="base" hangingPunct="0">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0" fontAlgn="base" hangingPunct="0">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0" fontAlgn="base" hangingPunct="0">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0" fontAlgn="base" hangingPunct="0">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F9F017-2C1C-4A1B-B7FF-739C56455D0C}"/>
              </a:ext>
            </a:extLst>
          </p:cNvPr>
          <p:cNvGraphicFramePr>
            <a:graphicFrameLocks noChangeAspect="1"/>
          </p:cNvGraphicFramePr>
          <p:nvPr userDrawn="1">
            <p:custDataLst>
              <p:tags r:id="rId16"/>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1515" name="think-cell Slide" r:id="rId17" imgW="270" imgH="270" progId="TCLayout.ActiveDocument.1">
                  <p:embed/>
                </p:oleObj>
              </mc:Choice>
              <mc:Fallback>
                <p:oleObj name="think-cell Slide" r:id="rId17" imgW="270" imgH="270" progId="TCLayout.ActiveDocument.1">
                  <p:embed/>
                  <p:pic>
                    <p:nvPicPr>
                      <p:cNvPr id="3" name="Object 2" hidden="1">
                        <a:extLst>
                          <a:ext uri="{FF2B5EF4-FFF2-40B4-BE49-F238E27FC236}">
                            <a16:creationId xmlns:a16="http://schemas.microsoft.com/office/drawing/2014/main" id="{D8F9F017-2C1C-4A1B-B7FF-739C56455D0C}"/>
                          </a:ext>
                        </a:extLst>
                      </p:cNvPr>
                      <p:cNvPicPr/>
                      <p:nvPr/>
                    </p:nvPicPr>
                    <p:blipFill>
                      <a:blip r:embed="rId18"/>
                      <a:stretch>
                        <a:fillRect/>
                      </a:stretch>
                    </p:blipFill>
                    <p:spPr>
                      <a:xfrm>
                        <a:off x="1192" y="1192"/>
                        <a:ext cx="1190" cy="1190"/>
                      </a:xfrm>
                      <a:prstGeom prst="rect">
                        <a:avLst/>
                      </a:prstGeom>
                    </p:spPr>
                  </p:pic>
                </p:oleObj>
              </mc:Fallback>
            </mc:AlternateContent>
          </a:graphicData>
        </a:graphic>
      </p:graphicFrame>
      <p:sp>
        <p:nvSpPr>
          <p:cNvPr id="2" name="Title Placeholder 1"/>
          <p:cNvSpPr>
            <a:spLocks noGrp="1"/>
          </p:cNvSpPr>
          <p:nvPr>
            <p:ph type="title"/>
          </p:nvPr>
        </p:nvSpPr>
        <p:spPr bwMode="auto">
          <a:xfrm>
            <a:off x="417600" y="280988"/>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8" name="TextBox 7">
            <a:extLst>
              <a:ext uri="{FF2B5EF4-FFF2-40B4-BE49-F238E27FC236}">
                <a16:creationId xmlns:a16="http://schemas.microsoft.com/office/drawing/2014/main" id="{6A25A568-F8C7-4851-9962-250E52D618C9}"/>
              </a:ext>
            </a:extLst>
          </p:cNvPr>
          <p:cNvSpPr txBox="1"/>
          <p:nvPr userDrawn="1"/>
        </p:nvSpPr>
        <p:spPr>
          <a:xfrm>
            <a:off x="657000" y="4815927"/>
            <a:ext cx="1800000" cy="123111"/>
          </a:xfrm>
          <a:prstGeom prst="rect">
            <a:avLst/>
          </a:prstGeom>
          <a:noFill/>
        </p:spPr>
        <p:txBody>
          <a:bodyPr wrap="square" lIns="0" tIns="0" rIns="0" bIns="0" anchor="b">
            <a:spAutoFit/>
          </a:bodyPr>
          <a:lstStyle/>
          <a:p>
            <a:r>
              <a:rPr lang="en-GB" sz="80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19 Nokia</a:t>
            </a:r>
          </a:p>
        </p:txBody>
      </p:sp>
      <p:sp>
        <p:nvSpPr>
          <p:cNvPr id="9" name="Slide Number Placeholder 5">
            <a:extLst>
              <a:ext uri="{FF2B5EF4-FFF2-40B4-BE49-F238E27FC236}">
                <a16:creationId xmlns:a16="http://schemas.microsoft.com/office/drawing/2014/main" id="{47BB0208-6D48-483D-BC2F-234C47BFCC96}"/>
              </a:ext>
            </a:extLst>
          </p:cNvPr>
          <p:cNvSpPr txBox="1">
            <a:spLocks/>
          </p:cNvSpPr>
          <p:nvPr userDrawn="1"/>
        </p:nvSpPr>
        <p:spPr>
          <a:xfrm>
            <a:off x="419102" y="4816090"/>
            <a:ext cx="144462" cy="123111"/>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GB" sz="100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pic>
        <p:nvPicPr>
          <p:cNvPr id="10" name="Picture 9">
            <a:extLst>
              <a:ext uri="{FF2B5EF4-FFF2-40B4-BE49-F238E27FC236}">
                <a16:creationId xmlns:a16="http://schemas.microsoft.com/office/drawing/2014/main" id="{543BACD8-2033-4AF5-B591-0390B0FAF5DE}"/>
              </a:ext>
            </a:extLst>
          </p:cNvPr>
          <p:cNvPicPr>
            <a:picLocks noChangeAspect="1"/>
          </p:cNvPicPr>
          <p:nvPr userDrawn="1"/>
        </p:nvPicPr>
        <p:blipFill>
          <a:blip r:embed="rId19" cstate="screen">
            <a:extLst>
              <a:ext uri="{BEBA8EAE-BF5A-486C-A8C5-ECC9F3942E4B}">
                <a14:imgProps xmlns:a14="http://schemas.microsoft.com/office/drawing/2010/main">
                  <a14:imgLayer r:embed="rId20">
                    <a14:imgEffect>
                      <a14:brightnessContrast bright="100000"/>
                    </a14:imgEffect>
                  </a14:imgLayer>
                </a14:imgProps>
              </a:ext>
              <a:ext uri="{28A0092B-C50C-407E-A947-70E740481C1C}">
                <a14:useLocalDpi xmlns:a14="http://schemas.microsoft.com/office/drawing/2010/main"/>
              </a:ext>
            </a:extLst>
          </a:blip>
          <a:stretch>
            <a:fillRect/>
          </a:stretch>
        </p:blipFill>
        <p:spPr>
          <a:xfrm>
            <a:off x="7877226" y="4651001"/>
            <a:ext cx="1008112" cy="424363"/>
          </a:xfrm>
          <a:prstGeom prst="rect">
            <a:avLst/>
          </a:prstGeom>
        </p:spPr>
      </p:pic>
    </p:spTree>
    <p:extLst>
      <p:ext uri="{BB962C8B-B14F-4D97-AF65-F5344CB8AC3E}">
        <p14:creationId xmlns:p14="http://schemas.microsoft.com/office/powerpoint/2010/main" val="1323777712"/>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Lst>
  <p:hf sldNum="0" hdr="0" dt="0"/>
  <p:txStyles>
    <p:titleStyle>
      <a:lvl1pPr algn="l" defTabSz="457189" rtl="0" eaLnBrk="1" fontAlgn="base" hangingPunct="1">
        <a:spcBef>
          <a:spcPct val="0"/>
        </a:spcBef>
        <a:spcAft>
          <a:spcPct val="0"/>
        </a:spcAft>
        <a:defRPr sz="2000" b="0" kern="1200">
          <a:solidFill>
            <a:schemeClr val="bg1"/>
          </a:solidFill>
          <a:latin typeface="+mj-lt"/>
          <a:ea typeface="Nokia Pure Headline Ultra Light" panose="020B0204020202020204" pitchFamily="34" charset="0"/>
          <a:cs typeface="Arial"/>
        </a:defRPr>
      </a:lvl1pPr>
      <a:lvl2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189" algn="l" defTabSz="457189" rtl="0" eaLnBrk="1" fontAlgn="base" hangingPunct="1">
        <a:spcBef>
          <a:spcPct val="0"/>
        </a:spcBef>
        <a:spcAft>
          <a:spcPct val="0"/>
        </a:spcAft>
        <a:defRPr b="1">
          <a:solidFill>
            <a:schemeClr val="bg2"/>
          </a:solidFill>
          <a:latin typeface="Arial" charset="0"/>
          <a:ea typeface="ヒラギノ角ゴ Pro W3" charset="0"/>
        </a:defRPr>
      </a:lvl6pPr>
      <a:lvl7pPr marL="914378" algn="l" defTabSz="457189" rtl="0" eaLnBrk="1" fontAlgn="base" hangingPunct="1">
        <a:spcBef>
          <a:spcPct val="0"/>
        </a:spcBef>
        <a:spcAft>
          <a:spcPct val="0"/>
        </a:spcAft>
        <a:defRPr b="1">
          <a:solidFill>
            <a:schemeClr val="bg2"/>
          </a:solidFill>
          <a:latin typeface="Arial" charset="0"/>
          <a:ea typeface="ヒラギノ角ゴ Pro W3" charset="0"/>
        </a:defRPr>
      </a:lvl7pPr>
      <a:lvl8pPr marL="1371566" algn="l" defTabSz="457189" rtl="0" eaLnBrk="1" fontAlgn="base" hangingPunct="1">
        <a:spcBef>
          <a:spcPct val="0"/>
        </a:spcBef>
        <a:spcAft>
          <a:spcPct val="0"/>
        </a:spcAft>
        <a:defRPr b="1">
          <a:solidFill>
            <a:schemeClr val="bg2"/>
          </a:solidFill>
          <a:latin typeface="Arial" charset="0"/>
          <a:ea typeface="ヒラギノ角ゴ Pro W3" charset="0"/>
        </a:defRPr>
      </a:lvl8pPr>
      <a:lvl9pPr marL="1828754" algn="l" defTabSz="457189"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3" indent="-230183" algn="l" defTabSz="457189"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77" indent="-228594" algn="l" defTabSz="457189"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196" indent="-225419" algn="l" defTabSz="457189"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791" indent="-228594" algn="l" defTabSz="457189"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2972" indent="-230183" algn="l" defTabSz="457189"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itle Placeholder 6"/>
          <p:cNvSpPr>
            <a:spLocks noGrp="1"/>
          </p:cNvSpPr>
          <p:nvPr>
            <p:ph type="title"/>
          </p:nvPr>
        </p:nvSpPr>
        <p:spPr>
          <a:xfrm>
            <a:off x="417600" y="280800"/>
            <a:ext cx="8308800" cy="309600"/>
          </a:xfrm>
          <a:prstGeom prst="rect">
            <a:avLst/>
          </a:prstGeom>
        </p:spPr>
        <p:txBody>
          <a:bodyPr vert="horz" lIns="0" tIns="0" rIns="0" bIns="0" rtlCol="0" anchor="t" anchorCtr="0">
            <a:noAutofit/>
          </a:bodyPr>
          <a:lstStyle/>
          <a:p>
            <a:r>
              <a:rPr lang="en-US" dirty="0"/>
              <a:t>Click to edit Master title slide</a:t>
            </a:r>
          </a:p>
        </p:txBody>
      </p:sp>
      <p:pic>
        <p:nvPicPr>
          <p:cNvPr id="3" name="Picture 2"/>
          <p:cNvPicPr>
            <a:picLocks/>
          </p:cNvPicPr>
          <p:nvPr userDrawn="1"/>
        </p:nvPicPr>
        <p:blipFill>
          <a:blip r:embed="rId10" cstate="print">
            <a:extLst>
              <a:ext uri="{28A0092B-C50C-407E-A947-70E740481C1C}">
                <a14:useLocalDpi xmlns:a14="http://schemas.microsoft.com/office/drawing/2010/main" val="0"/>
              </a:ext>
            </a:extLst>
          </a:blip>
          <a:stretch>
            <a:fillRect/>
          </a:stretch>
        </p:blipFill>
        <p:spPr>
          <a:xfrm>
            <a:off x="8035200" y="4806001"/>
            <a:ext cx="691200" cy="111597"/>
          </a:xfrm>
          <a:prstGeom prst="rect">
            <a:avLst/>
          </a:prstGeom>
        </p:spPr>
      </p:pic>
      <p:sp>
        <p:nvSpPr>
          <p:cNvPr id="4" name="TextBox 3"/>
          <p:cNvSpPr txBox="1"/>
          <p:nvPr userDrawn="1"/>
        </p:nvSpPr>
        <p:spPr>
          <a:xfrm>
            <a:off x="419102" y="4815927"/>
            <a:ext cx="1800000" cy="123111"/>
          </a:xfrm>
          <a:prstGeom prst="rect">
            <a:avLst/>
          </a:prstGeom>
          <a:noFill/>
        </p:spPr>
        <p:txBody>
          <a:bodyPr wrap="square" lIns="0" tIns="0" rIns="0" bIns="0" anchor="b">
            <a:spAutoFit/>
          </a:bodyPr>
          <a:lstStyle/>
          <a:p>
            <a:r>
              <a:rPr lang="en-GB" sz="800" dirty="0">
                <a:solidFill>
                  <a:schemeClr val="tx2"/>
                </a:solidFill>
                <a:latin typeface="+mn-lt"/>
                <a:ea typeface="Nokia Pure Text Light" panose="020B0403020202020204" pitchFamily="34" charset="0"/>
                <a:cs typeface="Arial" charset="0"/>
              </a:rPr>
              <a:t>© Nokia 2019</a:t>
            </a:r>
          </a:p>
        </p:txBody>
      </p:sp>
    </p:spTree>
    <p:extLst>
      <p:ext uri="{BB962C8B-B14F-4D97-AF65-F5344CB8AC3E}">
        <p14:creationId xmlns:p14="http://schemas.microsoft.com/office/powerpoint/2010/main" val="1787805207"/>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Lst>
  <p:hf sldNum="0" hdr="0" dt="0"/>
  <p:txStyles>
    <p:titleStyle>
      <a:lvl1pPr algn="l" defTabSz="914378" rtl="0" eaLnBrk="1" latinLnBrk="0" hangingPunct="1">
        <a:spcBef>
          <a:spcPct val="0"/>
        </a:spcBef>
        <a:buNone/>
        <a:defRPr sz="2800" kern="1200" baseline="0">
          <a:solidFill>
            <a:schemeClr val="tx1"/>
          </a:solidFill>
          <a:latin typeface="+mj-lt"/>
          <a:ea typeface="+mj-ea"/>
          <a:cs typeface="+mj-cs"/>
        </a:defRPr>
      </a:lvl1pPr>
    </p:titleStyle>
    <p:bodyStyle>
      <a:lvl1pPr marL="342892" indent="-342892" algn="l" defTabSz="914378"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31" indent="-285743" algn="l" defTabSz="914378"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972" indent="-228594" algn="l" defTabSz="914378"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160"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348"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193FC4-D914-48CF-82EF-4DB422C3E769}"/>
              </a:ext>
            </a:extLst>
          </p:cNvPr>
          <p:cNvGraphicFramePr>
            <a:graphicFrameLocks noChangeAspect="1"/>
          </p:cNvGraphicFramePr>
          <p:nvPr userDrawn="1">
            <p:custDataLst>
              <p:tags r:id="rId2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8" name="think-cell Slide" r:id="rId22" imgW="270" imgH="270" progId="TCLayout.ActiveDocument.1">
                  <p:embed/>
                </p:oleObj>
              </mc:Choice>
              <mc:Fallback>
                <p:oleObj name="think-cell Slide" r:id="rId22" imgW="270" imgH="270" progId="TCLayout.ActiveDocument.1">
                  <p:embed/>
                  <p:pic>
                    <p:nvPicPr>
                      <p:cNvPr id="5" name="Object 4" hidden="1">
                        <a:extLst>
                          <a:ext uri="{FF2B5EF4-FFF2-40B4-BE49-F238E27FC236}">
                            <a16:creationId xmlns:a16="http://schemas.microsoft.com/office/drawing/2014/main" id="{18193FC4-D914-48CF-82EF-4DB422C3E769}"/>
                          </a:ext>
                        </a:extLst>
                      </p:cNvPr>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1035" name="Line 9"/>
          <p:cNvSpPr>
            <a:spLocks noChangeShapeType="1"/>
          </p:cNvSpPr>
          <p:nvPr/>
        </p:nvSpPr>
        <p:spPr bwMode="auto">
          <a:xfrm flipV="1">
            <a:off x="-179388" y="593725"/>
            <a:ext cx="9502776" cy="0"/>
          </a:xfrm>
          <a:prstGeom prst="line">
            <a:avLst/>
          </a:prstGeom>
          <a:noFill/>
          <a:ln w="3175">
            <a:solidFill>
              <a:schemeClr val="bg1"/>
            </a:solidFill>
            <a:round/>
            <a:headEnd/>
            <a:tailEnd/>
          </a:ln>
          <a:extLst/>
        </p:spPr>
        <p:txBody>
          <a:bodyPr anchor="ctr"/>
          <a:lstStyle/>
          <a:p>
            <a:pPr>
              <a:defRPr/>
            </a:pPr>
            <a:endParaRPr lang="en-GB" dirty="0">
              <a:latin typeface="+mj-lt"/>
            </a:endParaRPr>
          </a:p>
        </p:txBody>
      </p:sp>
      <p:sp>
        <p:nvSpPr>
          <p:cNvPr id="1036" name="Line 12"/>
          <p:cNvSpPr>
            <a:spLocks noChangeShapeType="1"/>
          </p:cNvSpPr>
          <p:nvPr/>
        </p:nvSpPr>
        <p:spPr bwMode="auto">
          <a:xfrm flipV="1">
            <a:off x="-179388" y="4914900"/>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37" name="Line 9"/>
          <p:cNvSpPr>
            <a:spLocks noChangeShapeType="1"/>
          </p:cNvSpPr>
          <p:nvPr/>
        </p:nvSpPr>
        <p:spPr bwMode="auto">
          <a:xfrm flipV="1">
            <a:off x="-179388" y="846138"/>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38" name="Line 10"/>
          <p:cNvSpPr>
            <a:spLocks noChangeShapeType="1"/>
          </p:cNvSpPr>
          <p:nvPr/>
        </p:nvSpPr>
        <p:spPr bwMode="auto">
          <a:xfrm flipH="1">
            <a:off x="-179388" y="1092200"/>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39" name="Line 12"/>
          <p:cNvSpPr>
            <a:spLocks noChangeShapeType="1"/>
          </p:cNvSpPr>
          <p:nvPr/>
        </p:nvSpPr>
        <p:spPr bwMode="auto">
          <a:xfrm flipV="1">
            <a:off x="-179388" y="4665663"/>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40" name="Line 13"/>
          <p:cNvSpPr>
            <a:spLocks noChangeShapeType="1"/>
          </p:cNvSpPr>
          <p:nvPr/>
        </p:nvSpPr>
        <p:spPr bwMode="auto">
          <a:xfrm flipH="1" flipV="1">
            <a:off x="-179388" y="4400550"/>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41" name="Line 14"/>
          <p:cNvSpPr>
            <a:spLocks noChangeShapeType="1"/>
          </p:cNvSpPr>
          <p:nvPr/>
        </p:nvSpPr>
        <p:spPr bwMode="auto">
          <a:xfrm>
            <a:off x="-179388" y="280988"/>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42" name="Line 15"/>
          <p:cNvSpPr>
            <a:spLocks noChangeShapeType="1"/>
          </p:cNvSpPr>
          <p:nvPr/>
        </p:nvSpPr>
        <p:spPr bwMode="auto">
          <a:xfrm flipH="1">
            <a:off x="417513" y="-147638"/>
            <a:ext cx="0" cy="5508626"/>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43" name="Line 17"/>
          <p:cNvSpPr>
            <a:spLocks noChangeShapeType="1"/>
          </p:cNvSpPr>
          <p:nvPr/>
        </p:nvSpPr>
        <p:spPr bwMode="auto">
          <a:xfrm>
            <a:off x="8656638" y="-147638"/>
            <a:ext cx="0" cy="5508626"/>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2" name="Title Placeholder 1"/>
          <p:cNvSpPr>
            <a:spLocks noGrp="1"/>
          </p:cNvSpPr>
          <p:nvPr>
            <p:ph type="title"/>
          </p:nvPr>
        </p:nvSpPr>
        <p:spPr bwMode="auto">
          <a:xfrm>
            <a:off x="417513" y="279400"/>
            <a:ext cx="8229600" cy="3111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4" name="Text Placeholder 2"/>
          <p:cNvSpPr>
            <a:spLocks noGrp="1"/>
          </p:cNvSpPr>
          <p:nvPr>
            <p:ph type="body" idx="1"/>
          </p:nvPr>
        </p:nvSpPr>
        <p:spPr bwMode="auto">
          <a:xfrm>
            <a:off x="417513" y="1089025"/>
            <a:ext cx="8229600" cy="33067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2" name="Text Box 9"/>
          <p:cNvSpPr txBox="1">
            <a:spLocks noChangeArrowheads="1"/>
          </p:cNvSpPr>
          <p:nvPr/>
        </p:nvSpPr>
        <p:spPr bwMode="auto">
          <a:xfrm>
            <a:off x="0" y="-352425"/>
            <a:ext cx="9144000" cy="233362"/>
          </a:xfrm>
          <a:prstGeom prst="rect">
            <a:avLst/>
          </a:prstGeom>
          <a:noFill/>
          <a:ln w="19050" algn="ctr">
            <a:noFill/>
            <a:miter lim="800000"/>
            <a:headEnd/>
            <a:tailEnd/>
          </a:ln>
          <a:effectLst/>
        </p:spPr>
        <p:txBody>
          <a:bodyPr lIns="90000" tIns="46800" rIns="90000" bIns="46800">
            <a:spAutoFit/>
          </a:bodyPr>
          <a:lstStyle/>
          <a:p>
            <a:pPr algn="ctr" defTabSz="762000" eaLnBrk="0" hangingPunct="0">
              <a:lnSpc>
                <a:spcPct val="90000"/>
              </a:lnSpc>
              <a:spcBef>
                <a:spcPct val="50000"/>
              </a:spcBef>
              <a:buClr>
                <a:schemeClr val="accent1"/>
              </a:buClr>
              <a:defRPr/>
            </a:pPr>
            <a:r>
              <a:rPr lang="en-US" sz="1000" dirty="0">
                <a:solidFill>
                  <a:schemeClr val="tx2"/>
                </a:solidFill>
                <a:latin typeface="+mn-lt"/>
                <a:cs typeface="+mn-cs"/>
              </a:rPr>
              <a:t>To change the document information in the footer, press [Alt + F8] and use the “FORM“</a:t>
            </a:r>
          </a:p>
        </p:txBody>
      </p:sp>
      <p:sp>
        <p:nvSpPr>
          <p:cNvPr id="41" name="AutoShape 57"/>
          <p:cNvSpPr>
            <a:spLocks noChangeArrowheads="1"/>
          </p:cNvSpPr>
          <p:nvPr/>
        </p:nvSpPr>
        <p:spPr bwMode="auto">
          <a:xfrm>
            <a:off x="1474788" y="5208588"/>
            <a:ext cx="287337" cy="134937"/>
          </a:xfrm>
          <a:prstGeom prst="roundRect">
            <a:avLst>
              <a:gd name="adj" fmla="val 16667"/>
            </a:avLst>
          </a:prstGeom>
          <a:solidFill>
            <a:schemeClr val="accent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18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65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145</a:t>
            </a:r>
          </a:p>
        </p:txBody>
      </p:sp>
      <p:sp>
        <p:nvSpPr>
          <p:cNvPr id="43" name="AutoShape 58"/>
          <p:cNvSpPr>
            <a:spLocks noChangeArrowheads="1"/>
          </p:cNvSpPr>
          <p:nvPr/>
        </p:nvSpPr>
        <p:spPr bwMode="auto">
          <a:xfrm>
            <a:off x="1835150" y="5208588"/>
            <a:ext cx="287338" cy="134937"/>
          </a:xfrm>
          <a:prstGeom prst="roundRect">
            <a:avLst>
              <a:gd name="adj" fmla="val 16667"/>
            </a:avLst>
          </a:prstGeom>
          <a:solidFill>
            <a:schemeClr val="accent2"/>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0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201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255</a:t>
            </a:r>
          </a:p>
        </p:txBody>
      </p:sp>
      <p:sp>
        <p:nvSpPr>
          <p:cNvPr id="44" name="AutoShape 59"/>
          <p:cNvSpPr>
            <a:spLocks noChangeArrowheads="1"/>
          </p:cNvSpPr>
          <p:nvPr/>
        </p:nvSpPr>
        <p:spPr bwMode="auto">
          <a:xfrm>
            <a:off x="2195513" y="5208588"/>
            <a:ext cx="287337" cy="134937"/>
          </a:xfrm>
          <a:prstGeom prst="roundRect">
            <a:avLst>
              <a:gd name="adj" fmla="val 16667"/>
            </a:avLst>
          </a:prstGeom>
          <a:solidFill>
            <a:schemeClr val="accent4"/>
          </a:solidFill>
          <a:ln w="9525">
            <a:noFill/>
            <a:round/>
            <a:headEnd/>
            <a:tailEnd/>
          </a:ln>
          <a:effectLst/>
        </p:spPr>
        <p:txBody>
          <a:bodyPr lIns="18000" tIns="252000" rIns="18000" bIns="0"/>
          <a:lstStyle/>
          <a:p>
            <a:pPr defTabSz="604647" eaLnBrk="0" fontAlgn="auto" hangingPunct="0">
              <a:spcBef>
                <a:spcPct val="15000"/>
              </a:spcBef>
              <a:spcAft>
                <a:spcPct val="15000"/>
              </a:spcAft>
              <a:buClr>
                <a:schemeClr val="accent1"/>
              </a:buClr>
              <a:defRPr/>
            </a:pPr>
            <a:r>
              <a:rPr lang="en-US" sz="500" b="1" dirty="0">
                <a:solidFill>
                  <a:schemeClr val="tx2"/>
                </a:solidFill>
                <a:latin typeface="+mn-lt"/>
                <a:cs typeface="Arial" panose="020B0604020202020204" pitchFamily="34" charset="0"/>
              </a:rPr>
              <a:t>R 104</a:t>
            </a:r>
            <a:br>
              <a:rPr lang="en-US" sz="500" b="1" dirty="0">
                <a:solidFill>
                  <a:schemeClr val="tx2"/>
                </a:solidFill>
                <a:latin typeface="+mn-lt"/>
                <a:cs typeface="Arial" panose="020B0604020202020204" pitchFamily="34" charset="0"/>
              </a:rPr>
            </a:br>
            <a:r>
              <a:rPr lang="en-US" sz="500" b="1" dirty="0">
                <a:solidFill>
                  <a:schemeClr val="tx2"/>
                </a:solidFill>
                <a:latin typeface="+mn-lt"/>
                <a:cs typeface="Arial" panose="020B0604020202020204" pitchFamily="34" charset="0"/>
              </a:rPr>
              <a:t>G 113</a:t>
            </a:r>
            <a:br>
              <a:rPr lang="en-US" sz="500" b="1" dirty="0">
                <a:solidFill>
                  <a:schemeClr val="tx2"/>
                </a:solidFill>
                <a:latin typeface="+mn-lt"/>
                <a:cs typeface="Arial" panose="020B0604020202020204" pitchFamily="34" charset="0"/>
              </a:rPr>
            </a:br>
            <a:r>
              <a:rPr lang="en-US" sz="500" b="1" dirty="0">
                <a:solidFill>
                  <a:schemeClr val="tx2"/>
                </a:solidFill>
                <a:latin typeface="+mn-lt"/>
                <a:cs typeface="Arial" panose="020B0604020202020204" pitchFamily="34" charset="0"/>
              </a:rPr>
              <a:t>B 122</a:t>
            </a:r>
          </a:p>
        </p:txBody>
      </p:sp>
      <p:sp>
        <p:nvSpPr>
          <p:cNvPr id="45" name="AutoShape 64"/>
          <p:cNvSpPr>
            <a:spLocks noChangeArrowheads="1"/>
          </p:cNvSpPr>
          <p:nvPr/>
        </p:nvSpPr>
        <p:spPr bwMode="auto">
          <a:xfrm>
            <a:off x="2916238" y="5208588"/>
            <a:ext cx="287337" cy="134937"/>
          </a:xfrm>
          <a:prstGeom prst="roundRect">
            <a:avLst>
              <a:gd name="adj" fmla="val 16667"/>
            </a:avLst>
          </a:prstGeom>
          <a:solidFill>
            <a:schemeClr val="accent6"/>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216</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217</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218</a:t>
            </a:r>
          </a:p>
        </p:txBody>
      </p:sp>
      <p:sp>
        <p:nvSpPr>
          <p:cNvPr id="46" name="AutoShape 65"/>
          <p:cNvSpPr>
            <a:spLocks noChangeArrowheads="1"/>
          </p:cNvSpPr>
          <p:nvPr/>
        </p:nvSpPr>
        <p:spPr bwMode="auto">
          <a:xfrm>
            <a:off x="2555875" y="5208588"/>
            <a:ext cx="287338" cy="134937"/>
          </a:xfrm>
          <a:prstGeom prst="roundRect">
            <a:avLst>
              <a:gd name="adj" fmla="val 16667"/>
            </a:avLst>
          </a:prstGeom>
          <a:solidFill>
            <a:schemeClr val="accent4"/>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168</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187</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192</a:t>
            </a:r>
          </a:p>
        </p:txBody>
      </p:sp>
      <p:sp>
        <p:nvSpPr>
          <p:cNvPr id="47" name="Rectangle 68"/>
          <p:cNvSpPr>
            <a:spLocks noChangeArrowheads="1"/>
          </p:cNvSpPr>
          <p:nvPr/>
        </p:nvSpPr>
        <p:spPr bwMode="auto">
          <a:xfrm>
            <a:off x="647700" y="5208588"/>
            <a:ext cx="792163" cy="134937"/>
          </a:xfrm>
          <a:prstGeom prst="rect">
            <a:avLst/>
          </a:prstGeom>
          <a:noFill/>
          <a:ln>
            <a:noFill/>
          </a:ln>
          <a:extLst/>
        </p:spPr>
        <p:txBody>
          <a:bodyPr wrap="none" lIns="18000" tIns="0" rIns="36000" bIns="0" anchor="ctr"/>
          <a:lstStyle/>
          <a:p>
            <a:pPr algn="r" defTabSz="603250" eaLnBrk="0" hangingPunct="0">
              <a:spcBef>
                <a:spcPct val="15000"/>
              </a:spcBef>
              <a:spcAft>
                <a:spcPct val="15000"/>
              </a:spcAft>
              <a:buClr>
                <a:schemeClr val="accent1"/>
              </a:buClr>
              <a:defRPr/>
            </a:pPr>
            <a:r>
              <a:rPr lang="en-GB" sz="500" b="1" dirty="0">
                <a:solidFill>
                  <a:schemeClr val="tx2"/>
                </a:solidFill>
                <a:latin typeface="Arial" panose="020B0604020202020204" pitchFamily="34" charset="0"/>
                <a:cs typeface="Arial" panose="020B0604020202020204" pitchFamily="34" charset="0"/>
              </a:rPr>
              <a:t>Core and </a:t>
            </a:r>
            <a:r>
              <a:rPr lang="en-GB" sz="500" b="1" dirty="0">
                <a:solidFill>
                  <a:schemeClr val="tx2"/>
                </a:solidFill>
                <a:latin typeface="+mn-lt"/>
                <a:cs typeface="Arial" panose="020B0604020202020204" pitchFamily="34" charset="0"/>
              </a:rPr>
              <a:t>background</a:t>
            </a:r>
            <a:r>
              <a:rPr lang="en-GB" sz="500" b="1" dirty="0">
                <a:solidFill>
                  <a:schemeClr val="tx2"/>
                </a:solidFill>
                <a:latin typeface="Arial" panose="020B0604020202020204" pitchFamily="34" charset="0"/>
                <a:cs typeface="Arial" panose="020B0604020202020204" pitchFamily="34" charset="0"/>
              </a:rPr>
              <a:t> colors:</a:t>
            </a:r>
          </a:p>
        </p:txBody>
      </p:sp>
      <p:sp>
        <p:nvSpPr>
          <p:cNvPr id="48" name="AutoShape 57"/>
          <p:cNvSpPr>
            <a:spLocks noChangeArrowheads="1"/>
          </p:cNvSpPr>
          <p:nvPr/>
        </p:nvSpPr>
        <p:spPr bwMode="auto">
          <a:xfrm>
            <a:off x="1474788" y="5208588"/>
            <a:ext cx="287337" cy="134937"/>
          </a:xfrm>
          <a:prstGeom prst="roundRect">
            <a:avLst>
              <a:gd name="adj" fmla="val 16667"/>
            </a:avLst>
          </a:prstGeom>
          <a:solidFill>
            <a:schemeClr val="tx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49" name="AutoShape 58"/>
          <p:cNvSpPr>
            <a:spLocks noChangeArrowheads="1"/>
          </p:cNvSpPr>
          <p:nvPr/>
        </p:nvSpPr>
        <p:spPr bwMode="auto">
          <a:xfrm>
            <a:off x="1835150" y="5208588"/>
            <a:ext cx="287338" cy="134937"/>
          </a:xfrm>
          <a:prstGeom prst="roundRect">
            <a:avLst>
              <a:gd name="adj" fmla="val 16667"/>
            </a:avLst>
          </a:prstGeom>
          <a:solidFill>
            <a:schemeClr val="accent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50" name="AutoShape 59"/>
          <p:cNvSpPr>
            <a:spLocks noChangeArrowheads="1"/>
          </p:cNvSpPr>
          <p:nvPr/>
        </p:nvSpPr>
        <p:spPr bwMode="auto">
          <a:xfrm>
            <a:off x="2195513" y="5208588"/>
            <a:ext cx="287337" cy="134937"/>
          </a:xfrm>
          <a:prstGeom prst="roundRect">
            <a:avLst>
              <a:gd name="adj" fmla="val 16667"/>
            </a:avLst>
          </a:prstGeom>
          <a:solidFill>
            <a:schemeClr val="bg2"/>
          </a:solidFill>
          <a:ln w="9525">
            <a:noFill/>
            <a:round/>
            <a:headEnd/>
            <a:tailEnd/>
          </a:ln>
          <a:effectLst/>
        </p:spPr>
        <p:txBody>
          <a:bodyPr lIns="18000" tIns="252000" rIns="18000" bIns="0"/>
          <a:lstStyle/>
          <a:p>
            <a:pPr defTabSz="604647" eaLnBrk="0" fontAlgn="auto" hangingPunct="0">
              <a:spcBef>
                <a:spcPct val="15000"/>
              </a:spcBef>
              <a:spcAft>
                <a:spcPct val="15000"/>
              </a:spcAft>
              <a:buClr>
                <a:schemeClr val="accent1"/>
              </a:buClr>
              <a:defRPr/>
            </a:pPr>
            <a:endParaRPr lang="en-US" sz="500" b="1" dirty="0">
              <a:solidFill>
                <a:schemeClr val="tx2"/>
              </a:solidFill>
              <a:latin typeface="+mn-lt"/>
              <a:ea typeface="+mn-ea"/>
              <a:cs typeface="Arial" panose="020B0604020202020204" pitchFamily="34" charset="0"/>
            </a:endParaRPr>
          </a:p>
        </p:txBody>
      </p:sp>
      <p:sp>
        <p:nvSpPr>
          <p:cNvPr id="51" name="Rectangle 68"/>
          <p:cNvSpPr>
            <a:spLocks noChangeArrowheads="1"/>
          </p:cNvSpPr>
          <p:nvPr/>
        </p:nvSpPr>
        <p:spPr bwMode="auto">
          <a:xfrm>
            <a:off x="647700" y="5208588"/>
            <a:ext cx="792163" cy="134937"/>
          </a:xfrm>
          <a:prstGeom prst="rect">
            <a:avLst/>
          </a:prstGeom>
          <a:noFill/>
          <a:ln>
            <a:noFill/>
          </a:ln>
          <a:extLst/>
        </p:spPr>
        <p:txBody>
          <a:bodyPr wrap="none" lIns="18000" tIns="0" rIns="36000" bIns="0" anchor="ctr"/>
          <a:lstStyle/>
          <a:p>
            <a:pPr algn="r" defTabSz="603250" eaLnBrk="0" hangingPunct="0">
              <a:spcBef>
                <a:spcPct val="15000"/>
              </a:spcBef>
              <a:spcAft>
                <a:spcPct val="15000"/>
              </a:spcAft>
              <a:buClr>
                <a:schemeClr val="accent1"/>
              </a:buClr>
              <a:defRPr/>
            </a:pPr>
            <a:endParaRPr lang="en-GB" sz="500" b="1" dirty="0">
              <a:solidFill>
                <a:schemeClr val="tx2"/>
              </a:solidFill>
              <a:latin typeface="Arial" panose="020B0604020202020204" pitchFamily="34" charset="0"/>
              <a:cs typeface="Arial" panose="020B0604020202020204" pitchFamily="34" charset="0"/>
            </a:endParaRPr>
          </a:p>
        </p:txBody>
      </p:sp>
      <p:sp>
        <p:nvSpPr>
          <p:cNvPr id="52" name="Date Placeholder 3"/>
          <p:cNvSpPr txBox="1">
            <a:spLocks/>
          </p:cNvSpPr>
          <p:nvPr/>
        </p:nvSpPr>
        <p:spPr>
          <a:xfrm>
            <a:off x="722313" y="4643438"/>
            <a:ext cx="687387" cy="138112"/>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800" dirty="0">
                <a:solidFill>
                  <a:schemeClr val="bg2"/>
                </a:solidFill>
                <a:latin typeface="+mn-lt"/>
                <a:cs typeface="Arial" panose="020B0604020202020204" pitchFamily="34" charset="0"/>
              </a:rPr>
              <a:t>05.10.2019</a:t>
            </a:r>
          </a:p>
        </p:txBody>
      </p:sp>
      <p:sp>
        <p:nvSpPr>
          <p:cNvPr id="53" name="Slide Number Placeholder 5"/>
          <p:cNvSpPr txBox="1">
            <a:spLocks/>
          </p:cNvSpPr>
          <p:nvPr/>
        </p:nvSpPr>
        <p:spPr>
          <a:xfrm>
            <a:off x="433388" y="4643438"/>
            <a:ext cx="144462" cy="138112"/>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9182688-34E5-4CE3-92E4-C88AA8BD9750}" type="slidenum">
              <a:rPr lang="en-GB" sz="800" smtClean="0">
                <a:solidFill>
                  <a:schemeClr val="bg2"/>
                </a:solidFill>
                <a:latin typeface="+mn-lt"/>
                <a:cs typeface="Arial" panose="020B0604020202020204" pitchFamily="34" charset="0"/>
              </a:rPr>
              <a:pPr>
                <a:defRPr/>
              </a:pPr>
              <a:t>‹#›</a:t>
            </a:fld>
            <a:endParaRPr lang="en-GB" dirty="0">
              <a:solidFill>
                <a:schemeClr val="bg2"/>
              </a:solidFill>
              <a:latin typeface="+mn-lt"/>
              <a:cs typeface="Arial" panose="020B0604020202020204" pitchFamily="34" charset="0"/>
            </a:endParaRPr>
          </a:p>
        </p:txBody>
      </p:sp>
      <p:pic>
        <p:nvPicPr>
          <p:cNvPr id="1050" name="Picture 1"/>
          <p:cNvPicPr>
            <a:picLocks/>
          </p:cNvPicPr>
          <p:nvPr/>
        </p:nvPicPr>
        <p:blipFill>
          <a:blip r:embed="rId24"/>
          <a:srcRect/>
          <a:stretch>
            <a:fillRect/>
          </a:stretch>
        </p:blipFill>
        <p:spPr bwMode="auto">
          <a:xfrm>
            <a:off x="7959725" y="4672013"/>
            <a:ext cx="701675" cy="115887"/>
          </a:xfrm>
          <a:prstGeom prst="rect">
            <a:avLst/>
          </a:prstGeom>
          <a:noFill/>
          <a:ln w="9525">
            <a:noFill/>
            <a:miter lim="800000"/>
            <a:headEnd/>
            <a:tailEnd/>
          </a:ln>
        </p:spPr>
      </p:pic>
      <p:sp>
        <p:nvSpPr>
          <p:cNvPr id="3" name="TextBox 2"/>
          <p:cNvSpPr txBox="1"/>
          <p:nvPr/>
        </p:nvSpPr>
        <p:spPr>
          <a:xfrm>
            <a:off x="1341438" y="4643438"/>
            <a:ext cx="6078537" cy="122237"/>
          </a:xfrm>
          <a:prstGeom prst="rect">
            <a:avLst/>
          </a:prstGeom>
          <a:noFill/>
        </p:spPr>
        <p:txBody>
          <a:bodyPr lIns="0" tIns="0" rIns="0" bIns="0">
            <a:spAutoFit/>
          </a:bodyPr>
          <a:lstStyle/>
          <a:p>
            <a:r>
              <a:rPr lang="en-GB" sz="800" dirty="0">
                <a:solidFill>
                  <a:schemeClr val="bg2"/>
                </a:solidFill>
                <a:latin typeface="+mn-lt"/>
                <a:cs typeface="Arial" charset="0"/>
              </a:rPr>
              <a:t>© Nokia 2019      Szilard Szell – Bug Hunting in Practice</a:t>
            </a:r>
          </a:p>
        </p:txBody>
      </p:sp>
      <p:sp>
        <p:nvSpPr>
          <p:cNvPr id="28" name="TextBox 27"/>
          <p:cNvSpPr txBox="1"/>
          <p:nvPr/>
        </p:nvSpPr>
        <p:spPr>
          <a:xfrm>
            <a:off x="1503363" y="4749800"/>
            <a:ext cx="6078537" cy="338138"/>
          </a:xfrm>
          <a:prstGeom prst="rect">
            <a:avLst/>
          </a:prstGeom>
          <a:noFill/>
        </p:spPr>
        <p:txBody>
          <a:bodyPr>
            <a:spAutoFit/>
          </a:bodyPr>
          <a:lstStyle/>
          <a:p>
            <a:pPr>
              <a:defRPr/>
            </a:pPr>
            <a:endParaRPr lang="en-GB" sz="800" dirty="0">
              <a:solidFill>
                <a:schemeClr val="bg2"/>
              </a:solidFill>
              <a:latin typeface="Arial" panose="020B0604020202020204" pitchFamily="34" charset="0"/>
              <a:ea typeface="+mn-ea"/>
              <a:cs typeface="Arial" panose="020B0604020202020204" pitchFamily="34" charset="0"/>
            </a:endParaRPr>
          </a:p>
          <a:p>
            <a:pPr>
              <a:defRPr/>
            </a:pPr>
            <a:endParaRPr lang="en-GB" sz="800" dirty="0">
              <a:solidFill>
                <a:schemeClr val="bg2"/>
              </a:solidFill>
              <a:latin typeface="Arial" panose="020B0604020202020204" pitchFamily="34" charset="0"/>
              <a:ea typeface="+mn-ea"/>
              <a:cs typeface="Arial" panose="020B0604020202020204" pitchFamily="34" charset="0"/>
            </a:endParaRPr>
          </a:p>
        </p:txBody>
      </p:sp>
      <p:sp>
        <p:nvSpPr>
          <p:cNvPr id="29" name="TextBox 28"/>
          <p:cNvSpPr txBox="1"/>
          <p:nvPr/>
        </p:nvSpPr>
        <p:spPr>
          <a:xfrm>
            <a:off x="432000" y="4787900"/>
            <a:ext cx="6078537" cy="123825"/>
          </a:xfrm>
          <a:prstGeom prst="rect">
            <a:avLst/>
          </a:prstGeom>
          <a:noFill/>
        </p:spPr>
        <p:txBody>
          <a:bodyPr lIns="0" tIns="0" rIns="0" bIns="0">
            <a:spAutoFit/>
          </a:bodyPr>
          <a:lstStyle/>
          <a:p>
            <a:pPr>
              <a:defRPr/>
            </a:pPr>
            <a:r>
              <a:rPr lang="en-GB" sz="800">
                <a:solidFill>
                  <a:schemeClr val="bg2"/>
                </a:solidFill>
                <a:latin typeface="+mn-lt"/>
                <a:cs typeface="Arial" charset="0"/>
              </a:rPr>
              <a:t>Public</a:t>
            </a:r>
            <a:endParaRPr lang="en-GB" sz="800" dirty="0">
              <a:solidFill>
                <a:schemeClr val="bg2"/>
              </a:solidFill>
              <a:latin typeface="+mn-lt"/>
              <a:cs typeface="Arial" charset="0"/>
            </a:endParaRPr>
          </a:p>
        </p:txBody>
      </p:sp>
    </p:spTree>
    <p:extLst>
      <p:ext uri="{BB962C8B-B14F-4D97-AF65-F5344CB8AC3E}">
        <p14:creationId xmlns:p14="http://schemas.microsoft.com/office/powerpoint/2010/main" val="2849729974"/>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 id="2147483867" r:id="rId13"/>
    <p:sldLayoutId id="2147483868" r:id="rId14"/>
    <p:sldLayoutId id="2147483869" r:id="rId15"/>
    <p:sldLayoutId id="2147483870" r:id="rId16"/>
    <p:sldLayoutId id="2147483871" r:id="rId17"/>
    <p:sldLayoutId id="2147483872" r:id="rId18"/>
  </p:sldLayoutIdLst>
  <p:hf sldNum="0" hdr="0" dt="0"/>
  <p:txStyles>
    <p:titleStyle>
      <a:lvl1pPr algn="l" defTabSz="457200" rtl="0" eaLnBrk="1" fontAlgn="base" hangingPunct="1">
        <a:spcBef>
          <a:spcPct val="0"/>
        </a:spcBef>
        <a:spcAft>
          <a:spcPct val="0"/>
        </a:spcAft>
        <a:defRPr sz="1800" b="1" kern="1200">
          <a:solidFill>
            <a:schemeClr val="tx1"/>
          </a:solidFill>
          <a:latin typeface="+mj-lt"/>
          <a:ea typeface="ヒラギノ角ゴ Pro W3"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34.jpeg"/><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9.jpg"/><Relationship Id="rId2" Type="http://schemas.openxmlformats.org/officeDocument/2006/relationships/tags" Target="../tags/tag38.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38.xml"/><Relationship Id="rId7" Type="http://schemas.openxmlformats.org/officeDocument/2006/relationships/image" Target="../media/image36.png"/><Relationship Id="rId2" Type="http://schemas.openxmlformats.org/officeDocument/2006/relationships/tags" Target="../tags/tag39.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11.xml"/><Relationship Id="rId9" Type="http://schemas.openxmlformats.org/officeDocument/2006/relationships/image" Target="../media/image38.png"/></Relationships>
</file>

<file path=ppt/slides/_rels/slide23.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2.xml"/><Relationship Id="rId1" Type="http://schemas.openxmlformats.org/officeDocument/2006/relationships/slideLayout" Target="../slideLayouts/slideLayout44.xml"/></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49.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5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95536" y="267494"/>
            <a:ext cx="8424936" cy="369332"/>
          </a:xfrm>
          <a:prstGeom prst="rect">
            <a:avLst/>
          </a:prstGeom>
          <a:noFill/>
        </p:spPr>
        <p:txBody>
          <a:bodyPr wrap="square" lIns="0" tIns="0" rIns="0" bIns="0" rtlCol="0">
            <a:spAutoFit/>
          </a:bodyPr>
          <a:lstStyle/>
          <a:p>
            <a:pPr lvl="0">
              <a:defRPr/>
            </a:pPr>
            <a:r>
              <a:rPr lang="en-GB" sz="2400" kern="0" dirty="0">
                <a:solidFill>
                  <a:srgbClr val="001135"/>
                </a:solidFill>
                <a:latin typeface="Nokia Pure Headline Ultra Light" panose="020B0204040602060303" pitchFamily="34" charset="0"/>
              </a:rPr>
              <a:t>Bug Hunting in practice</a:t>
            </a:r>
          </a:p>
        </p:txBody>
      </p:sp>
      <p:sp>
        <p:nvSpPr>
          <p:cNvPr id="4" name="TextBox 3"/>
          <p:cNvSpPr txBox="1"/>
          <p:nvPr/>
        </p:nvSpPr>
        <p:spPr>
          <a:xfrm>
            <a:off x="395535" y="3730918"/>
            <a:ext cx="8367465" cy="791385"/>
          </a:xfrm>
          <a:prstGeom prst="rect">
            <a:avLst/>
          </a:prstGeom>
          <a:solidFill>
            <a:srgbClr val="026AA0"/>
          </a:solidFill>
        </p:spPr>
        <p:txBody>
          <a:bodyPr wrap="square" lIns="144000" tIns="90000" rIns="72000" bIns="46800" rtlCol="0" anchor="ctr">
            <a:noAutofit/>
          </a:bodyPr>
          <a:lstStyle/>
          <a:p>
            <a:pPr marL="171450" indent="-171450" defTabSz="457200" fontAlgn="base">
              <a:spcAft>
                <a:spcPct val="0"/>
              </a:spcAft>
              <a:buClr>
                <a:srgbClr val="001135"/>
              </a:buClr>
            </a:pPr>
            <a:r>
              <a:rPr lang="fi-FI" sz="1600" kern="0" dirty="0">
                <a:solidFill>
                  <a:schemeClr val="bg1"/>
                </a:solidFill>
                <a:latin typeface="Nokia Pure Headline Ultra Light" panose="020B0204020202020204" pitchFamily="34" charset="0"/>
              </a:rPr>
              <a:t>Szilard Szell, </a:t>
            </a:r>
          </a:p>
          <a:p>
            <a:pPr marL="171450" indent="-171450" defTabSz="457200" fontAlgn="base">
              <a:spcAft>
                <a:spcPct val="0"/>
              </a:spcAft>
              <a:buClr>
                <a:srgbClr val="001135"/>
              </a:buClr>
            </a:pPr>
            <a:r>
              <a:rPr lang="fi-FI" sz="1600" kern="0" dirty="0">
                <a:solidFill>
                  <a:schemeClr val="bg1"/>
                </a:solidFill>
                <a:latin typeface="Nokia Pure Headline Ultra Light" panose="020B0204020202020204" pitchFamily="34" charset="0"/>
              </a:rPr>
              <a:t>DevOps </a:t>
            </a:r>
            <a:r>
              <a:rPr lang="fi-FI" sz="1600" kern="0" dirty="0" err="1">
                <a:solidFill>
                  <a:schemeClr val="bg1"/>
                </a:solidFill>
                <a:latin typeface="Nokia Pure Headline Ultra Light" panose="020B0204020202020204" pitchFamily="34" charset="0"/>
              </a:rPr>
              <a:t>Agent</a:t>
            </a:r>
            <a:r>
              <a:rPr lang="fi-FI" sz="1600" kern="0" dirty="0">
                <a:solidFill>
                  <a:schemeClr val="bg1"/>
                </a:solidFill>
                <a:latin typeface="Nokia Pure Headline Ultra Light" panose="020B0204020202020204" pitchFamily="34" charset="0"/>
              </a:rPr>
              <a:t>, SAFe SPC, Test </a:t>
            </a:r>
            <a:r>
              <a:rPr lang="fi-FI" sz="1600" kern="0" dirty="0" err="1">
                <a:solidFill>
                  <a:schemeClr val="bg1"/>
                </a:solidFill>
                <a:latin typeface="Nokia Pure Headline Ultra Light" panose="020B0204020202020204" pitchFamily="34" charset="0"/>
              </a:rPr>
              <a:t>Coach</a:t>
            </a:r>
            <a:r>
              <a:rPr lang="fi-FI" sz="1600" kern="0" dirty="0">
                <a:solidFill>
                  <a:schemeClr val="bg1"/>
                </a:solidFill>
                <a:latin typeface="Nokia Pure Headline Ultra Light" panose="020B0204020202020204" pitchFamily="34" charset="0"/>
              </a:rPr>
              <a:t>, NOKIA</a:t>
            </a:r>
          </a:p>
        </p:txBody>
      </p:sp>
      <p:sp>
        <p:nvSpPr>
          <p:cNvPr id="2" name="TextBox 1"/>
          <p:cNvSpPr txBox="1"/>
          <p:nvPr/>
        </p:nvSpPr>
        <p:spPr>
          <a:xfrm>
            <a:off x="374013" y="3710013"/>
            <a:ext cx="163647" cy="384357"/>
          </a:xfrm>
          <a:prstGeom prst="rect">
            <a:avLst/>
          </a:prstGeom>
          <a:noFill/>
        </p:spPr>
        <p:txBody>
          <a:bodyPr wrap="none" lIns="90000" tIns="90000" rIns="72000" bIns="46800" rtlCol="0">
            <a:spAutoFit/>
          </a:bodyPr>
          <a:lstStyle/>
          <a:p>
            <a:pPr marL="171450" indent="-171450" defTabSz="457200" fontAlgn="base">
              <a:spcAft>
                <a:spcPct val="0"/>
              </a:spcAft>
              <a:buClr>
                <a:srgbClr val="001135"/>
              </a:buClr>
            </a:pPr>
            <a:endParaRPr lang="fi-FI" sz="1600" kern="0" dirty="0">
              <a:solidFill>
                <a:srgbClr val="001135"/>
              </a:solidFill>
              <a:latin typeface="Nokia Pure Headline Ultra Light" panose="020B0204020202020204" pitchFamily="34" charset="0"/>
            </a:endParaRPr>
          </a:p>
        </p:txBody>
      </p:sp>
      <p:pic>
        <p:nvPicPr>
          <p:cNvPr id="5" name="Picture 4">
            <a:extLst>
              <a:ext uri="{FF2B5EF4-FFF2-40B4-BE49-F238E27FC236}">
                <a16:creationId xmlns:a16="http://schemas.microsoft.com/office/drawing/2014/main" id="{18C9A1D6-CF4A-40B1-BC7D-E8EB3F547161}"/>
              </a:ext>
            </a:extLst>
          </p:cNvPr>
          <p:cNvPicPr>
            <a:picLocks noChangeAspect="1"/>
          </p:cNvPicPr>
          <p:nvPr/>
        </p:nvPicPr>
        <p:blipFill>
          <a:blip r:embed="rId3"/>
          <a:stretch>
            <a:fillRect/>
          </a:stretch>
        </p:blipFill>
        <p:spPr>
          <a:xfrm>
            <a:off x="7553740" y="3799567"/>
            <a:ext cx="1154969" cy="637483"/>
          </a:xfrm>
          <a:prstGeom prst="rect">
            <a:avLst/>
          </a:prstGeom>
        </p:spPr>
      </p:pic>
      <p:sp>
        <p:nvSpPr>
          <p:cNvPr id="7" name="Footer Placeholder 6">
            <a:extLst>
              <a:ext uri="{FF2B5EF4-FFF2-40B4-BE49-F238E27FC236}">
                <a16:creationId xmlns:a16="http://schemas.microsoft.com/office/drawing/2014/main" id="{B7F23B31-C2AD-4312-9E26-11C6C2DA544D}"/>
              </a:ext>
            </a:extLst>
          </p:cNvPr>
          <p:cNvSpPr>
            <a:spLocks noGrp="1"/>
          </p:cNvSpPr>
          <p:nvPr>
            <p:ph type="ftr" sz="quarter" idx="3"/>
          </p:nvPr>
        </p:nvSpPr>
        <p:spPr/>
        <p:txBody>
          <a:bodyPr/>
          <a:lstStyle/>
          <a:p>
            <a:pPr defTabSz="914400" fontAlgn="auto">
              <a:spcBef>
                <a:spcPts val="0"/>
              </a:spcBef>
              <a:spcAft>
                <a:spcPts val="0"/>
              </a:spcAft>
            </a:pPr>
            <a:r>
              <a:rPr lang="en-GB">
                <a:solidFill>
                  <a:srgbClr val="4D5766"/>
                </a:solidFill>
                <a:cs typeface="Arial" panose="020B0604020202020204" pitchFamily="34" charset="0"/>
              </a:rPr>
              <a:t>Public</a:t>
            </a:r>
            <a:endParaRPr lang="en-US" dirty="0">
              <a:solidFill>
                <a:srgbClr val="4D5766"/>
              </a:solidFill>
              <a:cs typeface="Arial" panose="020B0604020202020204" pitchFamily="34" charset="0"/>
            </a:endParaRPr>
          </a:p>
        </p:txBody>
      </p:sp>
    </p:spTree>
    <p:extLst>
      <p:ext uri="{BB962C8B-B14F-4D97-AF65-F5344CB8AC3E}">
        <p14:creationId xmlns:p14="http://schemas.microsoft.com/office/powerpoint/2010/main" val="727869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descr="http://www.gamewright.com/gamewright/Images/Games/GAMEWRIGHT-318.jpg"/>
          <p:cNvPicPr>
            <a:picLocks noChangeAspect="1" noChangeArrowheads="1"/>
          </p:cNvPicPr>
          <p:nvPr/>
        </p:nvPicPr>
        <p:blipFill>
          <a:blip r:embed="rId3"/>
          <a:srcRect/>
          <a:stretch>
            <a:fillRect/>
          </a:stretch>
        </p:blipFill>
        <p:spPr bwMode="auto">
          <a:xfrm>
            <a:off x="34821" y="1097956"/>
            <a:ext cx="4038552" cy="3941627"/>
          </a:xfrm>
          <a:prstGeom prst="rect">
            <a:avLst/>
          </a:prstGeom>
          <a:noFill/>
        </p:spPr>
      </p:pic>
      <p:pic>
        <p:nvPicPr>
          <p:cNvPr id="7" name="Picture 2" descr="http://www.gamewright.com/gamewright/Images/Games/GAMEWRIGHT-318.jpg"/>
          <p:cNvPicPr>
            <a:picLocks noChangeAspect="1" noChangeArrowheads="1"/>
          </p:cNvPicPr>
          <p:nvPr/>
        </p:nvPicPr>
        <p:blipFill>
          <a:blip r:embed="rId3"/>
          <a:srcRect/>
          <a:stretch>
            <a:fillRect/>
          </a:stretch>
        </p:blipFill>
        <p:spPr bwMode="auto">
          <a:xfrm>
            <a:off x="114081" y="-880835"/>
            <a:ext cx="6066002" cy="5920418"/>
          </a:xfrm>
          <a:prstGeom prst="rect">
            <a:avLst/>
          </a:prstGeom>
          <a:noFill/>
        </p:spPr>
      </p:pic>
      <p:sp>
        <p:nvSpPr>
          <p:cNvPr id="2" name="Title 1"/>
          <p:cNvSpPr>
            <a:spLocks noGrp="1"/>
          </p:cNvSpPr>
          <p:nvPr>
            <p:ph type="title"/>
          </p:nvPr>
        </p:nvSpPr>
        <p:spPr/>
        <p:txBody>
          <a:bodyPr/>
          <a:lstStyle/>
          <a:p>
            <a:r>
              <a:rPr lang="en-US" dirty="0"/>
              <a:t>Explaining Exploratory test</a:t>
            </a:r>
          </a:p>
        </p:txBody>
      </p:sp>
      <p:sp>
        <p:nvSpPr>
          <p:cNvPr id="3" name="Content Placeholder 2"/>
          <p:cNvSpPr>
            <a:spLocks noGrp="1"/>
          </p:cNvSpPr>
          <p:nvPr>
            <p:ph sz="quarter" idx="13"/>
          </p:nvPr>
        </p:nvSpPr>
        <p:spPr/>
        <p:txBody>
          <a:bodyPr/>
          <a:lstStyle/>
          <a:p>
            <a:r>
              <a:rPr lang="en-US" dirty="0"/>
              <a:t>Do you know what is the Story Cubes game?</a:t>
            </a:r>
          </a:p>
        </p:txBody>
      </p:sp>
      <p:sp>
        <p:nvSpPr>
          <p:cNvPr id="4" name="Text Placeholder 3"/>
          <p:cNvSpPr>
            <a:spLocks noGrp="1"/>
          </p:cNvSpPr>
          <p:nvPr>
            <p:ph type="body" sz="quarter" idx="16"/>
          </p:nvPr>
        </p:nvSpPr>
        <p:spPr/>
        <p:txBody>
          <a:bodyPr/>
          <a:lstStyle/>
          <a:p>
            <a:endParaRPr lang="en-US" dirty="0"/>
          </a:p>
        </p:txBody>
      </p:sp>
      <p:sp>
        <p:nvSpPr>
          <p:cNvPr id="5" name="Text Placeholder 4"/>
          <p:cNvSpPr>
            <a:spLocks noGrp="1"/>
          </p:cNvSpPr>
          <p:nvPr>
            <p:ph type="body" sz="quarter" idx="17"/>
          </p:nvPr>
        </p:nvSpPr>
        <p:spPr>
          <a:xfrm>
            <a:off x="2606566" y="1087308"/>
            <a:ext cx="6034197" cy="3242953"/>
          </a:xfrm>
          <a:solidFill>
            <a:srgbClr val="FFFFFF">
              <a:alpha val="80000"/>
            </a:srgbClr>
          </a:solidFill>
        </p:spPr>
        <p:txBody>
          <a:bodyPr lIns="180000" tIns="180000" rIns="180000"/>
          <a:lstStyle/>
          <a:p>
            <a:r>
              <a:rPr lang="en-US" sz="1600" dirty="0">
                <a:solidFill>
                  <a:schemeClr val="tx1"/>
                </a:solidFill>
              </a:rPr>
              <a:t>“</a:t>
            </a:r>
            <a:r>
              <a:rPr lang="en-US" sz="1600" i="1" dirty="0">
                <a:solidFill>
                  <a:schemeClr val="tx1"/>
                </a:solidFill>
              </a:rPr>
              <a:t>Once upon a time </a:t>
            </a:r>
            <a:r>
              <a:rPr lang="en-US" sz="1600" dirty="0">
                <a:solidFill>
                  <a:schemeClr val="tx1"/>
                </a:solidFill>
              </a:rPr>
              <a:t>there was a </a:t>
            </a:r>
            <a:r>
              <a:rPr lang="en-US" sz="1600" b="1" dirty="0">
                <a:solidFill>
                  <a:schemeClr val="tx1"/>
                </a:solidFill>
              </a:rPr>
              <a:t>flash</a:t>
            </a:r>
            <a:r>
              <a:rPr lang="en-US" sz="1600" dirty="0">
                <a:solidFill>
                  <a:schemeClr val="tx1"/>
                </a:solidFill>
              </a:rPr>
              <a:t>, into who a </a:t>
            </a:r>
            <a:r>
              <a:rPr lang="en-US" sz="1600" b="1" dirty="0">
                <a:solidFill>
                  <a:schemeClr val="tx1"/>
                </a:solidFill>
              </a:rPr>
              <a:t>fish</a:t>
            </a:r>
            <a:r>
              <a:rPr lang="en-US" sz="1600" dirty="0">
                <a:solidFill>
                  <a:schemeClr val="tx1"/>
                </a:solidFill>
              </a:rPr>
              <a:t> has moved in (to live). The fish has asked the flash - Why is there a </a:t>
            </a:r>
            <a:r>
              <a:rPr lang="en-US" sz="1600" b="1" dirty="0">
                <a:solidFill>
                  <a:schemeClr val="tx1"/>
                </a:solidFill>
              </a:rPr>
              <a:t>pyramid</a:t>
            </a:r>
            <a:r>
              <a:rPr lang="en-US" sz="1600" dirty="0">
                <a:solidFill>
                  <a:schemeClr val="tx1"/>
                </a:solidFill>
              </a:rPr>
              <a:t> behind you</a:t>
            </a:r>
            <a:r>
              <a:rPr lang="en-US" sz="1600" b="1" dirty="0">
                <a:solidFill>
                  <a:schemeClr val="tx1"/>
                </a:solidFill>
              </a:rPr>
              <a:t>? Why</a:t>
            </a:r>
            <a:r>
              <a:rPr lang="en-US" sz="1600" dirty="0">
                <a:solidFill>
                  <a:schemeClr val="tx1"/>
                </a:solidFill>
              </a:rPr>
              <a:t> are you striking it</a:t>
            </a:r>
            <a:r>
              <a:rPr lang="en-US" sz="1600" b="1" dirty="0">
                <a:solidFill>
                  <a:schemeClr val="tx1"/>
                </a:solidFill>
              </a:rPr>
              <a:t>?</a:t>
            </a:r>
            <a:r>
              <a:rPr lang="en-US" sz="1600" dirty="0">
                <a:solidFill>
                  <a:schemeClr val="tx1"/>
                </a:solidFill>
              </a:rPr>
              <a:t> He (the flash) </a:t>
            </a:r>
            <a:r>
              <a:rPr lang="en-US" sz="1600" b="1" dirty="0">
                <a:solidFill>
                  <a:schemeClr val="tx1"/>
                </a:solidFill>
              </a:rPr>
              <a:t>said </a:t>
            </a:r>
            <a:r>
              <a:rPr lang="en-US" sz="1600" dirty="0">
                <a:solidFill>
                  <a:schemeClr val="tx1"/>
                </a:solidFill>
              </a:rPr>
              <a:t>- because an </a:t>
            </a:r>
            <a:r>
              <a:rPr lang="en-US" sz="1600" b="1" dirty="0">
                <a:solidFill>
                  <a:schemeClr val="tx1"/>
                </a:solidFill>
              </a:rPr>
              <a:t>airplane</a:t>
            </a:r>
            <a:r>
              <a:rPr lang="en-US" sz="1600" dirty="0">
                <a:solidFill>
                  <a:schemeClr val="tx1"/>
                </a:solidFill>
              </a:rPr>
              <a:t> is just going to fly by 200.000 millimeters below (us). Then, the passengers in the plane has </a:t>
            </a:r>
            <a:r>
              <a:rPr lang="en-US" sz="1600" b="1" dirty="0">
                <a:solidFill>
                  <a:schemeClr val="tx1"/>
                </a:solidFill>
              </a:rPr>
              <a:t>asked</a:t>
            </a:r>
            <a:r>
              <a:rPr lang="en-US" sz="1600" dirty="0">
                <a:solidFill>
                  <a:schemeClr val="tx1"/>
                </a:solidFill>
              </a:rPr>
              <a:t> the pilot - Why are we turning all around (left and right?)</a:t>
            </a:r>
            <a:r>
              <a:rPr lang="en-US" sz="1600" b="1" dirty="0">
                <a:solidFill>
                  <a:schemeClr val="tx1"/>
                </a:solidFill>
              </a:rPr>
              <a:t>?</a:t>
            </a:r>
            <a:r>
              <a:rPr lang="en-US" sz="1600" dirty="0">
                <a:solidFill>
                  <a:schemeClr val="tx1"/>
                </a:solidFill>
              </a:rPr>
              <a:t> The pilot said - Because I am reading a </a:t>
            </a:r>
            <a:r>
              <a:rPr lang="en-US" sz="1600" b="1" dirty="0">
                <a:solidFill>
                  <a:schemeClr val="tx1"/>
                </a:solidFill>
              </a:rPr>
              <a:t>book</a:t>
            </a:r>
            <a:r>
              <a:rPr lang="en-US" sz="1600" dirty="0">
                <a:solidFill>
                  <a:schemeClr val="tx1"/>
                </a:solidFill>
              </a:rPr>
              <a:t>. Then they (the passengers) </a:t>
            </a:r>
            <a:r>
              <a:rPr lang="en-US" sz="1600" b="1" dirty="0">
                <a:solidFill>
                  <a:schemeClr val="tx1"/>
                </a:solidFill>
              </a:rPr>
              <a:t>asked</a:t>
            </a:r>
            <a:r>
              <a:rPr lang="en-US" sz="1600" dirty="0">
                <a:solidFill>
                  <a:schemeClr val="tx1"/>
                </a:solidFill>
              </a:rPr>
              <a:t> the waitresses - Why don’t we get something to eat</a:t>
            </a:r>
            <a:r>
              <a:rPr lang="en-US" sz="1600" b="1" dirty="0">
                <a:solidFill>
                  <a:schemeClr val="tx1"/>
                </a:solidFill>
              </a:rPr>
              <a:t>?</a:t>
            </a:r>
            <a:r>
              <a:rPr lang="en-US" sz="1600" dirty="0">
                <a:solidFill>
                  <a:schemeClr val="tx1"/>
                </a:solidFill>
              </a:rPr>
              <a:t> Because (the waitresses said) a </a:t>
            </a:r>
            <a:r>
              <a:rPr lang="en-US" sz="1600" b="1" dirty="0">
                <a:solidFill>
                  <a:schemeClr val="tx1"/>
                </a:solidFill>
              </a:rPr>
              <a:t>tortoise</a:t>
            </a:r>
            <a:r>
              <a:rPr lang="en-US" sz="1600" dirty="0">
                <a:solidFill>
                  <a:schemeClr val="tx1"/>
                </a:solidFill>
              </a:rPr>
              <a:t> jumped into the soup. And then the </a:t>
            </a:r>
            <a:r>
              <a:rPr lang="en-US" sz="1600" b="1" dirty="0">
                <a:solidFill>
                  <a:schemeClr val="tx1"/>
                </a:solidFill>
              </a:rPr>
              <a:t>tortoise</a:t>
            </a:r>
            <a:r>
              <a:rPr lang="en-US" sz="1600" dirty="0">
                <a:solidFill>
                  <a:schemeClr val="tx1"/>
                </a:solidFill>
              </a:rPr>
              <a:t> said: Look, the </a:t>
            </a:r>
            <a:r>
              <a:rPr lang="en-US" sz="1600" b="1" dirty="0">
                <a:solidFill>
                  <a:schemeClr val="tx1"/>
                </a:solidFill>
              </a:rPr>
              <a:t>sheep</a:t>
            </a:r>
            <a:r>
              <a:rPr lang="en-US" sz="1600" dirty="0">
                <a:solidFill>
                  <a:schemeClr val="tx1"/>
                </a:solidFill>
              </a:rPr>
              <a:t> is parachuting out there!”</a:t>
            </a:r>
          </a:p>
          <a:p>
            <a:pPr algn="r"/>
            <a:r>
              <a:rPr lang="en-US" sz="1600" i="1" dirty="0" err="1">
                <a:solidFill>
                  <a:schemeClr val="tx1"/>
                </a:solidFill>
              </a:rPr>
              <a:t>Szonja</a:t>
            </a:r>
            <a:r>
              <a:rPr lang="en-US" sz="1600" i="1" dirty="0">
                <a:solidFill>
                  <a:schemeClr val="tx1"/>
                </a:solidFill>
              </a:rPr>
              <a:t>, 7 years</a:t>
            </a:r>
          </a:p>
        </p:txBody>
      </p:sp>
    </p:spTree>
    <p:extLst>
      <p:ext uri="{BB962C8B-B14F-4D97-AF65-F5344CB8AC3E}">
        <p14:creationId xmlns:p14="http://schemas.microsoft.com/office/powerpoint/2010/main" val="2650732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bg/>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descr="http://www.gamewright.com/gamewright/Images/Games/GAMEWRIGHT-318.jpg"/>
          <p:cNvPicPr>
            <a:picLocks noChangeAspect="1" noChangeArrowheads="1"/>
          </p:cNvPicPr>
          <p:nvPr/>
        </p:nvPicPr>
        <p:blipFill>
          <a:blip r:embed="rId2"/>
          <a:srcRect/>
          <a:stretch>
            <a:fillRect/>
          </a:stretch>
        </p:blipFill>
        <p:spPr bwMode="auto">
          <a:xfrm>
            <a:off x="6992086" y="2850033"/>
            <a:ext cx="1653683" cy="1613995"/>
          </a:xfrm>
          <a:prstGeom prst="rect">
            <a:avLst/>
          </a:prstGeom>
          <a:noFill/>
        </p:spPr>
      </p:pic>
      <p:sp>
        <p:nvSpPr>
          <p:cNvPr id="3" name="Content Placeholder 2"/>
          <p:cNvSpPr>
            <a:spLocks noGrp="1"/>
          </p:cNvSpPr>
          <p:nvPr>
            <p:ph idx="1"/>
          </p:nvPr>
        </p:nvSpPr>
        <p:spPr>
          <a:xfrm>
            <a:off x="418121" y="1089025"/>
            <a:ext cx="8228992" cy="3306763"/>
          </a:xfrm>
        </p:spPr>
        <p:txBody>
          <a:bodyPr/>
          <a:lstStyle/>
          <a:p>
            <a:pPr marL="457200" indent="-457200">
              <a:lnSpc>
                <a:spcPct val="150000"/>
              </a:lnSpc>
              <a:buAutoNum type="arabicPeriod"/>
            </a:pPr>
            <a:r>
              <a:rPr lang="en-US" sz="1600" dirty="0"/>
              <a:t>Gather Developers, Testers, Customers, Business people to the same table</a:t>
            </a:r>
          </a:p>
          <a:p>
            <a:pPr marL="457200" indent="-457200">
              <a:lnSpc>
                <a:spcPct val="150000"/>
              </a:lnSpc>
              <a:buAutoNum type="arabicPeriod"/>
            </a:pPr>
            <a:r>
              <a:rPr lang="en-US" sz="1600" dirty="0"/>
              <a:t>Show them a Story Cube pack</a:t>
            </a:r>
          </a:p>
          <a:p>
            <a:pPr marL="457200" indent="-457200">
              <a:lnSpc>
                <a:spcPct val="150000"/>
              </a:lnSpc>
              <a:buAutoNum type="arabicPeriod"/>
            </a:pPr>
            <a:r>
              <a:rPr lang="en-US" sz="1600" dirty="0"/>
              <a:t>Start collecting 9x6 areas of the system that is important</a:t>
            </a:r>
          </a:p>
          <a:p>
            <a:pPr marL="457200" indent="-457200">
              <a:lnSpc>
                <a:spcPct val="150000"/>
              </a:lnSpc>
              <a:buAutoNum type="arabicPeriod"/>
            </a:pPr>
            <a:r>
              <a:rPr lang="en-US" sz="1600" dirty="0"/>
              <a:t>Make Cubes for your own</a:t>
            </a:r>
          </a:p>
          <a:p>
            <a:pPr marL="457200" indent="-457200">
              <a:lnSpc>
                <a:spcPct val="150000"/>
              </a:lnSpc>
              <a:buAutoNum type="arabicPeriod"/>
            </a:pPr>
            <a:r>
              <a:rPr lang="en-US" sz="1600" dirty="0"/>
              <a:t>Play the game, roll the dice and tell a story by reading </a:t>
            </a:r>
            <a:br>
              <a:rPr lang="en-US" sz="1600" dirty="0"/>
            </a:br>
            <a:r>
              <a:rPr lang="en-US" sz="1600" dirty="0"/>
              <a:t>the pictograms</a:t>
            </a:r>
          </a:p>
          <a:p>
            <a:pPr marL="0" indent="0" algn="ctr">
              <a:lnSpc>
                <a:spcPct val="150000"/>
              </a:lnSpc>
              <a:buNone/>
            </a:pPr>
            <a:r>
              <a:rPr lang="en-US" sz="1600" b="1" dirty="0"/>
              <a:t>You just created an exploratory test case!</a:t>
            </a:r>
          </a:p>
        </p:txBody>
      </p:sp>
      <p:sp>
        <p:nvSpPr>
          <p:cNvPr id="2" name="Title 1"/>
          <p:cNvSpPr>
            <a:spLocks noGrp="1"/>
          </p:cNvSpPr>
          <p:nvPr>
            <p:ph type="title"/>
          </p:nvPr>
        </p:nvSpPr>
        <p:spPr/>
        <p:txBody>
          <a:bodyPr/>
          <a:lstStyle/>
          <a:p>
            <a:r>
              <a:rPr lang="en-US" dirty="0"/>
              <a:t>Explaining Exploratory test</a:t>
            </a:r>
          </a:p>
        </p:txBody>
      </p:sp>
      <p:sp>
        <p:nvSpPr>
          <p:cNvPr id="5" name="Text Placeholder 4"/>
          <p:cNvSpPr>
            <a:spLocks noGrp="1"/>
          </p:cNvSpPr>
          <p:nvPr>
            <p:ph sz="quarter" idx="13"/>
          </p:nvPr>
        </p:nvSpPr>
        <p:spPr/>
        <p:txBody>
          <a:bodyPr/>
          <a:lstStyle/>
          <a:p>
            <a:r>
              <a:rPr lang="en-US" dirty="0"/>
              <a:t>Do you know how to use the Story Cubes in testing?</a:t>
            </a:r>
          </a:p>
        </p:txBody>
      </p:sp>
    </p:spTree>
    <p:extLst>
      <p:ext uri="{BB962C8B-B14F-4D97-AF65-F5344CB8AC3E}">
        <p14:creationId xmlns:p14="http://schemas.microsoft.com/office/powerpoint/2010/main" val="16195505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idx="1"/>
            <p:extLst>
              <p:ext uri="{D42A27DB-BD31-4B8C-83A1-F6EECF244321}">
                <p14:modId xmlns:p14="http://schemas.microsoft.com/office/powerpoint/2010/main" val="470243853"/>
              </p:ext>
            </p:extLst>
          </p:nvPr>
        </p:nvGraphicFramePr>
        <p:xfrm>
          <a:off x="417513" y="1089025"/>
          <a:ext cx="8229600" cy="3310255"/>
        </p:xfrm>
        <a:graphic>
          <a:graphicData uri="http://schemas.openxmlformats.org/drawingml/2006/table">
            <a:tbl>
              <a:tblPr firstRow="1" firstCol="1" bandRow="1">
                <a:tableStyleId>{073A0DAA-6AF3-43AB-8588-CEC1D06C72B9}</a:tableStyleId>
              </a:tblPr>
              <a:tblGrid>
                <a:gridCol w="730803">
                  <a:extLst>
                    <a:ext uri="{9D8B030D-6E8A-4147-A177-3AD203B41FA5}">
                      <a16:colId xmlns:a16="http://schemas.microsoft.com/office/drawing/2014/main" val="20000"/>
                    </a:ext>
                  </a:extLst>
                </a:gridCol>
                <a:gridCol w="691914">
                  <a:extLst>
                    <a:ext uri="{9D8B030D-6E8A-4147-A177-3AD203B41FA5}">
                      <a16:colId xmlns:a16="http://schemas.microsoft.com/office/drawing/2014/main" val="20001"/>
                    </a:ext>
                  </a:extLst>
                </a:gridCol>
                <a:gridCol w="731520">
                  <a:extLst>
                    <a:ext uri="{9D8B030D-6E8A-4147-A177-3AD203B41FA5}">
                      <a16:colId xmlns:a16="http://schemas.microsoft.com/office/drawing/2014/main" val="20002"/>
                    </a:ext>
                  </a:extLst>
                </a:gridCol>
                <a:gridCol w="811530">
                  <a:extLst>
                    <a:ext uri="{9D8B030D-6E8A-4147-A177-3AD203B41FA5}">
                      <a16:colId xmlns:a16="http://schemas.microsoft.com/office/drawing/2014/main" val="20003"/>
                    </a:ext>
                  </a:extLst>
                </a:gridCol>
                <a:gridCol w="971550">
                  <a:extLst>
                    <a:ext uri="{9D8B030D-6E8A-4147-A177-3AD203B41FA5}">
                      <a16:colId xmlns:a16="http://schemas.microsoft.com/office/drawing/2014/main" val="20004"/>
                    </a:ext>
                  </a:extLst>
                </a:gridCol>
                <a:gridCol w="1074420">
                  <a:extLst>
                    <a:ext uri="{9D8B030D-6E8A-4147-A177-3AD203B41FA5}">
                      <a16:colId xmlns:a16="http://schemas.microsoft.com/office/drawing/2014/main" val="20005"/>
                    </a:ext>
                  </a:extLst>
                </a:gridCol>
                <a:gridCol w="902970">
                  <a:extLst>
                    <a:ext uri="{9D8B030D-6E8A-4147-A177-3AD203B41FA5}">
                      <a16:colId xmlns:a16="http://schemas.microsoft.com/office/drawing/2014/main" val="20006"/>
                    </a:ext>
                  </a:extLst>
                </a:gridCol>
                <a:gridCol w="731520">
                  <a:extLst>
                    <a:ext uri="{9D8B030D-6E8A-4147-A177-3AD203B41FA5}">
                      <a16:colId xmlns:a16="http://schemas.microsoft.com/office/drawing/2014/main" val="20007"/>
                    </a:ext>
                  </a:extLst>
                </a:gridCol>
                <a:gridCol w="793720">
                  <a:extLst>
                    <a:ext uri="{9D8B030D-6E8A-4147-A177-3AD203B41FA5}">
                      <a16:colId xmlns:a16="http://schemas.microsoft.com/office/drawing/2014/main" val="20008"/>
                    </a:ext>
                  </a:extLst>
                </a:gridCol>
                <a:gridCol w="789653">
                  <a:extLst>
                    <a:ext uri="{9D8B030D-6E8A-4147-A177-3AD203B41FA5}">
                      <a16:colId xmlns:a16="http://schemas.microsoft.com/office/drawing/2014/main" val="20009"/>
                    </a:ext>
                  </a:extLst>
                </a:gridCol>
              </a:tblGrid>
              <a:tr h="282575">
                <a:tc>
                  <a:txBody>
                    <a:bodyPr/>
                    <a:lstStyle/>
                    <a:p>
                      <a:endParaRPr lang="en-US" sz="1200" dirty="0"/>
                    </a:p>
                  </a:txBody>
                  <a:tcPr marL="36000" marR="36000"/>
                </a:tc>
                <a:tc>
                  <a:txBody>
                    <a:bodyPr/>
                    <a:lstStyle/>
                    <a:p>
                      <a:r>
                        <a:rPr lang="en-US" sz="1200" dirty="0"/>
                        <a:t>Cube 1</a:t>
                      </a:r>
                    </a:p>
                  </a:txBody>
                  <a:tcPr marL="36000" marR="36000"/>
                </a:tc>
                <a:tc>
                  <a:txBody>
                    <a:bodyPr/>
                    <a:lstStyle/>
                    <a:p>
                      <a:r>
                        <a:rPr lang="en-US" sz="1200" dirty="0"/>
                        <a:t>Cube 2</a:t>
                      </a:r>
                    </a:p>
                  </a:txBody>
                  <a:tcPr marL="36000" marR="36000"/>
                </a:tc>
                <a:tc>
                  <a:txBody>
                    <a:bodyPr/>
                    <a:lstStyle/>
                    <a:p>
                      <a:r>
                        <a:rPr lang="en-US" sz="1200" dirty="0"/>
                        <a:t>Cube 3</a:t>
                      </a:r>
                    </a:p>
                  </a:txBody>
                  <a:tcPr marL="36000" marR="36000"/>
                </a:tc>
                <a:tc>
                  <a:txBody>
                    <a:bodyPr/>
                    <a:lstStyle/>
                    <a:p>
                      <a:r>
                        <a:rPr lang="en-US" sz="1200" dirty="0"/>
                        <a:t>Cube 4</a:t>
                      </a:r>
                    </a:p>
                  </a:txBody>
                  <a:tcPr marL="36000" marR="36000"/>
                </a:tc>
                <a:tc>
                  <a:txBody>
                    <a:bodyPr/>
                    <a:lstStyle/>
                    <a:p>
                      <a:r>
                        <a:rPr lang="en-US" sz="1200" dirty="0"/>
                        <a:t>Cube 5</a:t>
                      </a:r>
                    </a:p>
                  </a:txBody>
                  <a:tcPr marL="36000" marR="36000"/>
                </a:tc>
                <a:tc>
                  <a:txBody>
                    <a:bodyPr/>
                    <a:lstStyle/>
                    <a:p>
                      <a:r>
                        <a:rPr lang="en-US" sz="1200" dirty="0"/>
                        <a:t>Cube 6</a:t>
                      </a:r>
                    </a:p>
                  </a:txBody>
                  <a:tcPr marL="36000" marR="36000"/>
                </a:tc>
                <a:tc>
                  <a:txBody>
                    <a:bodyPr/>
                    <a:lstStyle/>
                    <a:p>
                      <a:r>
                        <a:rPr lang="en-US" sz="1200" dirty="0"/>
                        <a:t>Cube 7</a:t>
                      </a:r>
                    </a:p>
                  </a:txBody>
                  <a:tcPr marL="36000" marR="36000"/>
                </a:tc>
                <a:tc>
                  <a:txBody>
                    <a:bodyPr/>
                    <a:lstStyle/>
                    <a:p>
                      <a:r>
                        <a:rPr lang="en-US" sz="1200" dirty="0"/>
                        <a:t>Cube 8</a:t>
                      </a:r>
                    </a:p>
                  </a:txBody>
                  <a:tcPr marL="36000" marR="36000"/>
                </a:tc>
                <a:tc>
                  <a:txBody>
                    <a:bodyPr/>
                    <a:lstStyle/>
                    <a:p>
                      <a:r>
                        <a:rPr lang="en-US" sz="1200" dirty="0"/>
                        <a:t>Cube 9</a:t>
                      </a:r>
                    </a:p>
                  </a:txBody>
                  <a:tcPr marL="36000" marR="36000"/>
                </a:tc>
                <a:extLst>
                  <a:ext uri="{0D108BD9-81ED-4DB2-BD59-A6C34878D82A}">
                    <a16:rowId xmlns:a16="http://schemas.microsoft.com/office/drawing/2014/main" val="10000"/>
                  </a:ext>
                </a:extLst>
              </a:tr>
              <a:tr h="370840">
                <a:tc>
                  <a:txBody>
                    <a:bodyPr/>
                    <a:lstStyle/>
                    <a:p>
                      <a:r>
                        <a:rPr lang="en-US" sz="1200" dirty="0"/>
                        <a:t>Theme</a:t>
                      </a:r>
                      <a:endParaRPr lang="en-US" sz="1200" b="1" dirty="0"/>
                    </a:p>
                  </a:txBody>
                  <a:tcPr marL="36000" marR="36000"/>
                </a:tc>
                <a:tc>
                  <a:txBody>
                    <a:bodyPr/>
                    <a:lstStyle/>
                    <a:p>
                      <a:r>
                        <a:rPr lang="en-US" sz="1200" b="1" dirty="0"/>
                        <a:t>Unit</a:t>
                      </a:r>
                    </a:p>
                  </a:txBody>
                  <a:tcPr marL="36000" marR="36000"/>
                </a:tc>
                <a:tc>
                  <a:txBody>
                    <a:bodyPr/>
                    <a:lstStyle/>
                    <a:p>
                      <a:r>
                        <a:rPr lang="en-US" sz="1200" b="1" dirty="0"/>
                        <a:t>State</a:t>
                      </a:r>
                      <a:r>
                        <a:rPr lang="en-US" sz="1200" b="1" baseline="0" dirty="0"/>
                        <a:t> Change</a:t>
                      </a:r>
                      <a:endParaRPr lang="en-US" sz="1200" b="1" dirty="0"/>
                    </a:p>
                  </a:txBody>
                  <a:tcPr marL="36000" marR="36000"/>
                </a:tc>
                <a:tc>
                  <a:txBody>
                    <a:bodyPr/>
                    <a:lstStyle/>
                    <a:p>
                      <a:r>
                        <a:rPr lang="en-US" sz="1200" b="1" dirty="0"/>
                        <a:t>Load Balancer</a:t>
                      </a:r>
                    </a:p>
                  </a:txBody>
                  <a:tcPr marL="36000" marR="36000"/>
                </a:tc>
                <a:tc>
                  <a:txBody>
                    <a:bodyPr/>
                    <a:lstStyle/>
                    <a:p>
                      <a:r>
                        <a:rPr lang="en-US" sz="1200" b="1" dirty="0"/>
                        <a:t>“CRUD”</a:t>
                      </a:r>
                    </a:p>
                  </a:txBody>
                  <a:tcPr marL="36000" marR="36000"/>
                </a:tc>
                <a:tc>
                  <a:txBody>
                    <a:bodyPr/>
                    <a:lstStyle/>
                    <a:p>
                      <a:r>
                        <a:rPr lang="en-US" sz="1200" b="1" dirty="0"/>
                        <a:t>Output</a:t>
                      </a:r>
                    </a:p>
                  </a:txBody>
                  <a:tcPr marL="36000" marR="36000"/>
                </a:tc>
                <a:tc>
                  <a:txBody>
                    <a:bodyPr/>
                    <a:lstStyle/>
                    <a:p>
                      <a:r>
                        <a:rPr lang="en-US" sz="1200" b="1" dirty="0"/>
                        <a:t>Transaction</a:t>
                      </a:r>
                    </a:p>
                  </a:txBody>
                  <a:tcPr marL="36000" marR="36000"/>
                </a:tc>
                <a:tc>
                  <a:txBody>
                    <a:bodyPr/>
                    <a:lstStyle/>
                    <a:p>
                      <a:r>
                        <a:rPr lang="en-US" sz="1200" b="1" dirty="0"/>
                        <a:t>Analysis</a:t>
                      </a:r>
                    </a:p>
                  </a:txBody>
                  <a:tcPr marL="36000" marR="36000"/>
                </a:tc>
                <a:tc>
                  <a:txBody>
                    <a:bodyPr/>
                    <a:lstStyle/>
                    <a:p>
                      <a:r>
                        <a:rPr lang="en-US" sz="1200" b="1" dirty="0"/>
                        <a:t>Attribute Anal.</a:t>
                      </a:r>
                    </a:p>
                  </a:txBody>
                  <a:tcPr marL="36000" marR="36000"/>
                </a:tc>
                <a:tc>
                  <a:txBody>
                    <a:bodyPr/>
                    <a:lstStyle/>
                    <a:p>
                      <a:r>
                        <a:rPr lang="en-US" sz="1200" b="1" dirty="0"/>
                        <a:t>Inter-</a:t>
                      </a:r>
                      <a:r>
                        <a:rPr lang="en-US" sz="1200" b="1" baseline="0" dirty="0"/>
                        <a:t> </a:t>
                      </a:r>
                      <a:r>
                        <a:rPr lang="en-US" sz="1200" b="1" dirty="0"/>
                        <a:t>face</a:t>
                      </a:r>
                    </a:p>
                  </a:txBody>
                  <a:tcPr marL="36000" marR="36000"/>
                </a:tc>
                <a:extLst>
                  <a:ext uri="{0D108BD9-81ED-4DB2-BD59-A6C34878D82A}">
                    <a16:rowId xmlns:a16="http://schemas.microsoft.com/office/drawing/2014/main" val="10001"/>
                  </a:ext>
                </a:extLst>
              </a:tr>
              <a:tr h="370840">
                <a:tc>
                  <a:txBody>
                    <a:bodyPr/>
                    <a:lstStyle/>
                    <a:p>
                      <a:r>
                        <a:rPr lang="en-US" sz="1200" dirty="0"/>
                        <a:t>Side1</a:t>
                      </a:r>
                    </a:p>
                  </a:txBody>
                  <a:tcPr marL="36000" marR="36000"/>
                </a:tc>
                <a:tc>
                  <a:txBody>
                    <a:bodyPr/>
                    <a:lstStyle/>
                    <a:p>
                      <a:r>
                        <a:rPr lang="en-US" sz="1200" dirty="0"/>
                        <a:t>STU</a:t>
                      </a:r>
                    </a:p>
                  </a:txBody>
                  <a:tcPr marL="36000" marR="36000"/>
                </a:tc>
                <a:tc>
                  <a:txBody>
                    <a:bodyPr/>
                    <a:lstStyle/>
                    <a:p>
                      <a:r>
                        <a:rPr lang="en-US" sz="1200" dirty="0"/>
                        <a:t>WO RE</a:t>
                      </a:r>
                    </a:p>
                  </a:txBody>
                  <a:tcPr marL="36000" marR="36000"/>
                </a:tc>
                <a:tc>
                  <a:txBody>
                    <a:bodyPr/>
                    <a:lstStyle/>
                    <a:p>
                      <a:r>
                        <a:rPr lang="en-US" sz="1200" dirty="0"/>
                        <a:t>H.248 MSS</a:t>
                      </a:r>
                    </a:p>
                  </a:txBody>
                  <a:tcPr marL="36000" marR="36000"/>
                </a:tc>
                <a:tc>
                  <a:txBody>
                    <a:bodyPr/>
                    <a:lstStyle/>
                    <a:p>
                      <a:r>
                        <a:rPr lang="en-US" sz="1200" dirty="0"/>
                        <a:t>Create / Add</a:t>
                      </a:r>
                    </a:p>
                  </a:txBody>
                  <a:tcPr marL="36000" marR="36000"/>
                </a:tc>
                <a:tc>
                  <a:txBody>
                    <a:bodyPr/>
                    <a:lstStyle/>
                    <a:p>
                      <a:r>
                        <a:rPr lang="en-US" sz="1200" dirty="0"/>
                        <a:t>Log</a:t>
                      </a:r>
                    </a:p>
                  </a:txBody>
                  <a:tcPr marL="36000" marR="36000"/>
                </a:tc>
                <a:tc>
                  <a:txBody>
                    <a:bodyPr/>
                    <a:lstStyle/>
                    <a:p>
                      <a:r>
                        <a:rPr lang="en-US" sz="1200" dirty="0" err="1"/>
                        <a:t>LocUp</a:t>
                      </a:r>
                      <a:endParaRPr lang="en-US" sz="1200" dirty="0"/>
                    </a:p>
                  </a:txBody>
                  <a:tcPr marL="36000" marR="36000"/>
                </a:tc>
                <a:tc>
                  <a:txBody>
                    <a:bodyPr/>
                    <a:lstStyle/>
                    <a:p>
                      <a:r>
                        <a:rPr lang="en-US" sz="1200" dirty="0"/>
                        <a:t>Barring</a:t>
                      </a:r>
                    </a:p>
                  </a:txBody>
                  <a:tcPr marL="36000" marR="36000"/>
                </a:tc>
                <a:tc>
                  <a:txBody>
                    <a:bodyPr/>
                    <a:lstStyle/>
                    <a:p>
                      <a:r>
                        <a:rPr lang="en-US" sz="1200" dirty="0"/>
                        <a:t>Routing</a:t>
                      </a:r>
                    </a:p>
                  </a:txBody>
                  <a:tcPr marL="36000" marR="36000"/>
                </a:tc>
                <a:tc>
                  <a:txBody>
                    <a:bodyPr/>
                    <a:lstStyle/>
                    <a:p>
                      <a:r>
                        <a:rPr lang="en-US" sz="1200" dirty="0"/>
                        <a:t>A/</a:t>
                      </a:r>
                      <a:r>
                        <a:rPr lang="en-US" sz="1200" dirty="0" err="1"/>
                        <a:t>Iu</a:t>
                      </a:r>
                      <a:endParaRPr lang="en-US" sz="1200" dirty="0"/>
                    </a:p>
                  </a:txBody>
                  <a:tcPr marL="36000" marR="36000"/>
                </a:tc>
                <a:extLst>
                  <a:ext uri="{0D108BD9-81ED-4DB2-BD59-A6C34878D82A}">
                    <a16:rowId xmlns:a16="http://schemas.microsoft.com/office/drawing/2014/main" val="10002"/>
                  </a:ext>
                </a:extLst>
              </a:tr>
              <a:tr h="370840">
                <a:tc>
                  <a:txBody>
                    <a:bodyPr/>
                    <a:lstStyle/>
                    <a:p>
                      <a:r>
                        <a:rPr lang="en-US" sz="1200" dirty="0"/>
                        <a:t>Side2</a:t>
                      </a:r>
                    </a:p>
                  </a:txBody>
                  <a:tcPr marL="36000" marR="36000"/>
                </a:tc>
                <a:tc>
                  <a:txBody>
                    <a:bodyPr/>
                    <a:lstStyle/>
                    <a:p>
                      <a:r>
                        <a:rPr lang="en-US" sz="1200" dirty="0"/>
                        <a:t>CHU</a:t>
                      </a:r>
                    </a:p>
                  </a:txBody>
                  <a:tcPr marL="36000" marR="36000"/>
                </a:tc>
                <a:tc>
                  <a:txBody>
                    <a:bodyPr/>
                    <a:lstStyle/>
                    <a:p>
                      <a:r>
                        <a:rPr lang="en-US" sz="1200" dirty="0"/>
                        <a:t>SP RE</a:t>
                      </a:r>
                    </a:p>
                  </a:txBody>
                  <a:tcPr marL="36000" marR="36000"/>
                </a:tc>
                <a:tc>
                  <a:txBody>
                    <a:bodyPr/>
                    <a:lstStyle/>
                    <a:p>
                      <a:endParaRPr lang="en-US" sz="1200" dirty="0"/>
                    </a:p>
                  </a:txBody>
                  <a:tcPr marL="36000" marR="36000"/>
                </a:tc>
                <a:tc>
                  <a:txBody>
                    <a:bodyPr/>
                    <a:lstStyle/>
                    <a:p>
                      <a:r>
                        <a:rPr lang="en-US" sz="1200" dirty="0"/>
                        <a:t>Read / Interrogate</a:t>
                      </a:r>
                    </a:p>
                  </a:txBody>
                  <a:tcPr marL="36000" marR="36000"/>
                </a:tc>
                <a:tc>
                  <a:txBody>
                    <a:bodyPr/>
                    <a:lstStyle/>
                    <a:p>
                      <a:r>
                        <a:rPr lang="en-US" sz="1200" dirty="0"/>
                        <a:t>Alarm</a:t>
                      </a:r>
                    </a:p>
                  </a:txBody>
                  <a:tcPr marL="36000" marR="36000"/>
                </a:tc>
                <a:tc>
                  <a:txBody>
                    <a:bodyPr/>
                    <a:lstStyle/>
                    <a:p>
                      <a:r>
                        <a:rPr lang="en-US" sz="1200" dirty="0" err="1"/>
                        <a:t>HandOver</a:t>
                      </a:r>
                      <a:endParaRPr lang="en-US" sz="1200" dirty="0"/>
                    </a:p>
                  </a:txBody>
                  <a:tcPr marL="36000" marR="36000"/>
                </a:tc>
                <a:tc>
                  <a:txBody>
                    <a:bodyPr/>
                    <a:lstStyle/>
                    <a:p>
                      <a:r>
                        <a:rPr lang="en-US" sz="1200" dirty="0"/>
                        <a:t>User plane</a:t>
                      </a:r>
                    </a:p>
                  </a:txBody>
                  <a:tcPr marL="36000" marR="36000"/>
                </a:tc>
                <a:tc>
                  <a:txBody>
                    <a:bodyPr/>
                    <a:lstStyle/>
                    <a:p>
                      <a:r>
                        <a:rPr lang="en-US" sz="1200" dirty="0"/>
                        <a:t>CHA</a:t>
                      </a:r>
                    </a:p>
                  </a:txBody>
                  <a:tcPr marL="36000" marR="36000"/>
                </a:tc>
                <a:tc>
                  <a:txBody>
                    <a:bodyPr/>
                    <a:lstStyle/>
                    <a:p>
                      <a:r>
                        <a:rPr lang="en-US" sz="1200" dirty="0"/>
                        <a:t>Mc</a:t>
                      </a:r>
                    </a:p>
                  </a:txBody>
                  <a:tcPr marL="36000" marR="36000"/>
                </a:tc>
                <a:extLst>
                  <a:ext uri="{0D108BD9-81ED-4DB2-BD59-A6C34878D82A}">
                    <a16:rowId xmlns:a16="http://schemas.microsoft.com/office/drawing/2014/main" val="10003"/>
                  </a:ext>
                </a:extLst>
              </a:tr>
              <a:tr h="370840">
                <a:tc>
                  <a:txBody>
                    <a:bodyPr/>
                    <a:lstStyle/>
                    <a:p>
                      <a:r>
                        <a:rPr lang="en-US" sz="1200" dirty="0"/>
                        <a:t>Side3</a:t>
                      </a:r>
                    </a:p>
                  </a:txBody>
                  <a:tcPr marL="36000" marR="36000"/>
                </a:tc>
                <a:tc>
                  <a:txBody>
                    <a:bodyPr/>
                    <a:lstStyle/>
                    <a:p>
                      <a:r>
                        <a:rPr lang="en-US" sz="1200" dirty="0"/>
                        <a:t>VLRU</a:t>
                      </a:r>
                    </a:p>
                  </a:txBody>
                  <a:tcPr marL="36000" marR="36000"/>
                </a:tc>
                <a:tc>
                  <a:txBody>
                    <a:bodyPr/>
                    <a:lstStyle/>
                    <a:p>
                      <a:r>
                        <a:rPr lang="en-US" sz="1200" dirty="0"/>
                        <a:t>CSWO</a:t>
                      </a:r>
                    </a:p>
                  </a:txBody>
                  <a:tcPr marL="36000" marR="36000"/>
                </a:tc>
                <a:tc>
                  <a:txBody>
                    <a:bodyPr/>
                    <a:lstStyle/>
                    <a:p>
                      <a:r>
                        <a:rPr lang="en-US" sz="1200" dirty="0"/>
                        <a:t>SIP</a:t>
                      </a:r>
                    </a:p>
                  </a:txBody>
                  <a:tcPr marL="36000" marR="36000"/>
                </a:tc>
                <a:tc>
                  <a:txBody>
                    <a:bodyPr/>
                    <a:lstStyle/>
                    <a:p>
                      <a:r>
                        <a:rPr lang="en-US" sz="1200" dirty="0"/>
                        <a:t>Update / Modify</a:t>
                      </a:r>
                    </a:p>
                  </a:txBody>
                  <a:tcPr marL="36000" marR="36000"/>
                </a:tc>
                <a:tc>
                  <a:txBody>
                    <a:bodyPr/>
                    <a:lstStyle/>
                    <a:p>
                      <a:r>
                        <a:rPr lang="en-US" sz="1200" dirty="0" err="1"/>
                        <a:t>ErrorLog</a:t>
                      </a:r>
                      <a:endParaRPr lang="en-US" sz="1200" dirty="0"/>
                    </a:p>
                  </a:txBody>
                  <a:tcPr marL="36000" marR="36000"/>
                </a:tc>
                <a:tc>
                  <a:txBody>
                    <a:bodyPr/>
                    <a:lstStyle/>
                    <a:p>
                      <a:r>
                        <a:rPr lang="en-US" sz="1200" dirty="0"/>
                        <a:t>MO</a:t>
                      </a:r>
                    </a:p>
                  </a:txBody>
                  <a:tcPr marL="36000" marR="36000"/>
                </a:tc>
                <a:tc>
                  <a:txBody>
                    <a:bodyPr/>
                    <a:lstStyle/>
                    <a:p>
                      <a:r>
                        <a:rPr lang="en-US" sz="1200" dirty="0"/>
                        <a:t>Digit</a:t>
                      </a:r>
                    </a:p>
                  </a:txBody>
                  <a:tcPr marL="36000" marR="36000"/>
                </a:tc>
                <a:tc>
                  <a:txBody>
                    <a:bodyPr/>
                    <a:lstStyle/>
                    <a:p>
                      <a:r>
                        <a:rPr lang="en-US" sz="1200" dirty="0"/>
                        <a:t>EOS</a:t>
                      </a:r>
                    </a:p>
                  </a:txBody>
                  <a:tcPr marL="36000" marR="36000"/>
                </a:tc>
                <a:tc>
                  <a:txBody>
                    <a:bodyPr/>
                    <a:lstStyle/>
                    <a:p>
                      <a:r>
                        <a:rPr lang="en-US" sz="1200" dirty="0"/>
                        <a:t>MAP</a:t>
                      </a:r>
                    </a:p>
                  </a:txBody>
                  <a:tcPr marL="36000" marR="36000"/>
                </a:tc>
                <a:extLst>
                  <a:ext uri="{0D108BD9-81ED-4DB2-BD59-A6C34878D82A}">
                    <a16:rowId xmlns:a16="http://schemas.microsoft.com/office/drawing/2014/main" val="10004"/>
                  </a:ext>
                </a:extLst>
              </a:tr>
              <a:tr h="370840">
                <a:tc>
                  <a:txBody>
                    <a:bodyPr/>
                    <a:lstStyle/>
                    <a:p>
                      <a:r>
                        <a:rPr lang="en-US" sz="1200" dirty="0"/>
                        <a:t>Side4</a:t>
                      </a:r>
                    </a:p>
                  </a:txBody>
                  <a:tcPr marL="36000" marR="36000"/>
                </a:tc>
                <a:tc>
                  <a:txBody>
                    <a:bodyPr/>
                    <a:lstStyle/>
                    <a:p>
                      <a:r>
                        <a:rPr lang="en-US" sz="1200" dirty="0"/>
                        <a:t>CM</a:t>
                      </a:r>
                    </a:p>
                  </a:txBody>
                  <a:tcPr marL="36000" marR="36000"/>
                </a:tc>
                <a:tc>
                  <a:txBody>
                    <a:bodyPr/>
                    <a:lstStyle/>
                    <a:p>
                      <a:r>
                        <a:rPr lang="en-US" sz="1200" dirty="0"/>
                        <a:t>FSWO</a:t>
                      </a:r>
                    </a:p>
                  </a:txBody>
                  <a:tcPr marL="36000" marR="36000"/>
                </a:tc>
                <a:tc>
                  <a:txBody>
                    <a:bodyPr/>
                    <a:lstStyle/>
                    <a:p>
                      <a:r>
                        <a:rPr lang="en-US" sz="1200" dirty="0"/>
                        <a:t>M3UA</a:t>
                      </a:r>
                    </a:p>
                  </a:txBody>
                  <a:tcPr marL="36000" marR="36000"/>
                </a:tc>
                <a:tc>
                  <a:txBody>
                    <a:bodyPr/>
                    <a:lstStyle/>
                    <a:p>
                      <a:r>
                        <a:rPr lang="en-US" sz="1200" dirty="0"/>
                        <a:t>Delete / Remove</a:t>
                      </a:r>
                    </a:p>
                  </a:txBody>
                  <a:tcPr marL="36000" marR="36000"/>
                </a:tc>
                <a:tc>
                  <a:txBody>
                    <a:bodyPr/>
                    <a:lstStyle/>
                    <a:p>
                      <a:r>
                        <a:rPr lang="en-US" sz="1200" dirty="0" err="1"/>
                        <a:t>ClearCode</a:t>
                      </a:r>
                      <a:endParaRPr lang="en-US" sz="1200" dirty="0"/>
                    </a:p>
                  </a:txBody>
                  <a:tcPr marL="36000" marR="36000"/>
                </a:tc>
                <a:tc>
                  <a:txBody>
                    <a:bodyPr/>
                    <a:lstStyle/>
                    <a:p>
                      <a:r>
                        <a:rPr lang="en-US" sz="1200" dirty="0"/>
                        <a:t>MT</a:t>
                      </a:r>
                    </a:p>
                  </a:txBody>
                  <a:tcPr marL="36000" marR="36000"/>
                </a:tc>
                <a:tc>
                  <a:txBody>
                    <a:bodyPr/>
                    <a:lstStyle/>
                    <a:p>
                      <a:r>
                        <a:rPr lang="en-US" sz="1200" dirty="0"/>
                        <a:t>EOS</a:t>
                      </a:r>
                    </a:p>
                  </a:txBody>
                  <a:tcPr marL="36000" marR="36000"/>
                </a:tc>
                <a:tc>
                  <a:txBody>
                    <a:bodyPr/>
                    <a:lstStyle/>
                    <a:p>
                      <a:r>
                        <a:rPr lang="en-US" sz="1200" dirty="0"/>
                        <a:t>Service</a:t>
                      </a:r>
                    </a:p>
                  </a:txBody>
                  <a:tcPr marL="36000" marR="36000"/>
                </a:tc>
                <a:tc>
                  <a:txBody>
                    <a:bodyPr/>
                    <a:lstStyle/>
                    <a:p>
                      <a:r>
                        <a:rPr lang="en-US" sz="1200" dirty="0" err="1"/>
                        <a:t>Nc</a:t>
                      </a:r>
                      <a:r>
                        <a:rPr lang="en-US" sz="1200" baseline="0" dirty="0"/>
                        <a:t>, BICC/SIP</a:t>
                      </a:r>
                      <a:endParaRPr lang="en-US" sz="1200" dirty="0"/>
                    </a:p>
                  </a:txBody>
                  <a:tcPr marL="36000" marR="36000"/>
                </a:tc>
                <a:extLst>
                  <a:ext uri="{0D108BD9-81ED-4DB2-BD59-A6C34878D82A}">
                    <a16:rowId xmlns:a16="http://schemas.microsoft.com/office/drawing/2014/main" val="10005"/>
                  </a:ext>
                </a:extLst>
              </a:tr>
              <a:tr h="370840">
                <a:tc>
                  <a:txBody>
                    <a:bodyPr/>
                    <a:lstStyle/>
                    <a:p>
                      <a:r>
                        <a:rPr lang="en-US" sz="1200" dirty="0"/>
                        <a:t>Side5</a:t>
                      </a:r>
                    </a:p>
                  </a:txBody>
                  <a:tcPr marL="36000" marR="36000"/>
                </a:tc>
                <a:tc>
                  <a:txBody>
                    <a:bodyPr/>
                    <a:lstStyle/>
                    <a:p>
                      <a:r>
                        <a:rPr lang="en-US" sz="1200" dirty="0"/>
                        <a:t>SU</a:t>
                      </a:r>
                    </a:p>
                  </a:txBody>
                  <a:tcPr marL="36000" marR="36000"/>
                </a:tc>
                <a:tc>
                  <a:txBody>
                    <a:bodyPr/>
                    <a:lstStyle/>
                    <a:p>
                      <a:r>
                        <a:rPr lang="en-US" sz="1200" dirty="0"/>
                        <a:t>DISK</a:t>
                      </a:r>
                    </a:p>
                  </a:txBody>
                  <a:tcPr marL="36000" marR="36000"/>
                </a:tc>
                <a:tc>
                  <a:txBody>
                    <a:bodyPr/>
                    <a:lstStyle/>
                    <a:p>
                      <a:r>
                        <a:rPr lang="en-US" sz="1200" dirty="0"/>
                        <a:t>H.248 MGW</a:t>
                      </a:r>
                    </a:p>
                  </a:txBody>
                  <a:tcPr marL="36000" marR="36000"/>
                </a:tc>
                <a:tc>
                  <a:txBody>
                    <a:bodyPr/>
                    <a:lstStyle/>
                    <a:p>
                      <a:endParaRPr lang="en-US" sz="1200"/>
                    </a:p>
                  </a:txBody>
                  <a:tcPr marL="36000" marR="36000"/>
                </a:tc>
                <a:tc>
                  <a:txBody>
                    <a:bodyPr/>
                    <a:lstStyle/>
                    <a:p>
                      <a:r>
                        <a:rPr lang="en-US" sz="1200" dirty="0"/>
                        <a:t>Measurement</a:t>
                      </a:r>
                    </a:p>
                  </a:txBody>
                  <a:tcPr marL="36000" marR="36000"/>
                </a:tc>
                <a:tc>
                  <a:txBody>
                    <a:bodyPr/>
                    <a:lstStyle/>
                    <a:p>
                      <a:r>
                        <a:rPr lang="en-US" sz="1200" dirty="0"/>
                        <a:t>Forward</a:t>
                      </a:r>
                    </a:p>
                  </a:txBody>
                  <a:tcPr marL="36000" marR="36000"/>
                </a:tc>
                <a:tc>
                  <a:txBody>
                    <a:bodyPr/>
                    <a:lstStyle/>
                    <a:p>
                      <a:r>
                        <a:rPr lang="en-US" sz="1200" dirty="0"/>
                        <a:t>Function</a:t>
                      </a:r>
                    </a:p>
                  </a:txBody>
                  <a:tcPr marL="36000" marR="36000"/>
                </a:tc>
                <a:tc>
                  <a:txBody>
                    <a:bodyPr/>
                    <a:lstStyle/>
                    <a:p>
                      <a:r>
                        <a:rPr lang="en-US" sz="1200" dirty="0"/>
                        <a:t>AIF</a:t>
                      </a:r>
                    </a:p>
                  </a:txBody>
                  <a:tcPr marL="36000" marR="36000"/>
                </a:tc>
                <a:tc>
                  <a:txBody>
                    <a:bodyPr/>
                    <a:lstStyle/>
                    <a:p>
                      <a:r>
                        <a:rPr lang="en-US" sz="1200" dirty="0"/>
                        <a:t>ISUP</a:t>
                      </a:r>
                    </a:p>
                  </a:txBody>
                  <a:tcPr marL="36000" marR="36000"/>
                </a:tc>
                <a:extLst>
                  <a:ext uri="{0D108BD9-81ED-4DB2-BD59-A6C34878D82A}">
                    <a16:rowId xmlns:a16="http://schemas.microsoft.com/office/drawing/2014/main" val="10006"/>
                  </a:ext>
                </a:extLst>
              </a:tr>
              <a:tr h="370840">
                <a:tc>
                  <a:txBody>
                    <a:bodyPr/>
                    <a:lstStyle/>
                    <a:p>
                      <a:r>
                        <a:rPr lang="en-US" sz="1200" dirty="0"/>
                        <a:t>Side6</a:t>
                      </a:r>
                    </a:p>
                  </a:txBody>
                  <a:tcPr marL="36000" marR="36000"/>
                </a:tc>
                <a:tc>
                  <a:txBody>
                    <a:bodyPr/>
                    <a:lstStyle/>
                    <a:p>
                      <a:r>
                        <a:rPr lang="en-US" sz="1200" dirty="0"/>
                        <a:t>IPDU</a:t>
                      </a:r>
                    </a:p>
                  </a:txBody>
                  <a:tcPr marL="36000" marR="36000"/>
                </a:tc>
                <a:tc>
                  <a:txBody>
                    <a:bodyPr/>
                    <a:lstStyle/>
                    <a:p>
                      <a:r>
                        <a:rPr lang="en-US" sz="1200" dirty="0"/>
                        <a:t>POWER</a:t>
                      </a:r>
                    </a:p>
                  </a:txBody>
                  <a:tcPr marL="36000" marR="36000"/>
                </a:tc>
                <a:tc>
                  <a:txBody>
                    <a:bodyPr/>
                    <a:lstStyle/>
                    <a:p>
                      <a:endParaRPr lang="en-US" sz="1200" dirty="0"/>
                    </a:p>
                  </a:txBody>
                  <a:tcPr marL="36000" marR="36000"/>
                </a:tc>
                <a:tc>
                  <a:txBody>
                    <a:bodyPr/>
                    <a:lstStyle/>
                    <a:p>
                      <a:endParaRPr lang="en-US" sz="1200"/>
                    </a:p>
                  </a:txBody>
                  <a:tcPr marL="36000" marR="36000"/>
                </a:tc>
                <a:tc>
                  <a:txBody>
                    <a:bodyPr/>
                    <a:lstStyle/>
                    <a:p>
                      <a:r>
                        <a:rPr lang="en-US" sz="1200" dirty="0"/>
                        <a:t>CHA Ticket</a:t>
                      </a:r>
                    </a:p>
                  </a:txBody>
                  <a:tcPr marL="36000" marR="36000"/>
                </a:tc>
                <a:tc>
                  <a:txBody>
                    <a:bodyPr/>
                    <a:lstStyle/>
                    <a:p>
                      <a:r>
                        <a:rPr lang="en-US" sz="1200" dirty="0"/>
                        <a:t>SS</a:t>
                      </a:r>
                    </a:p>
                  </a:txBody>
                  <a:tcPr marL="36000" marR="36000"/>
                </a:tc>
                <a:tc>
                  <a:txBody>
                    <a:bodyPr/>
                    <a:lstStyle/>
                    <a:p>
                      <a:r>
                        <a:rPr lang="en-US" sz="1200" dirty="0"/>
                        <a:t>Pre./Ext.</a:t>
                      </a:r>
                    </a:p>
                  </a:txBody>
                  <a:tcPr marL="36000" marR="36000"/>
                </a:tc>
                <a:tc>
                  <a:txBody>
                    <a:bodyPr/>
                    <a:lstStyle/>
                    <a:p>
                      <a:r>
                        <a:rPr lang="en-US" sz="1200" dirty="0"/>
                        <a:t>IN</a:t>
                      </a:r>
                    </a:p>
                  </a:txBody>
                  <a:tcPr marL="36000" marR="36000"/>
                </a:tc>
                <a:tc>
                  <a:txBody>
                    <a:bodyPr/>
                    <a:lstStyle/>
                    <a:p>
                      <a:r>
                        <a:rPr lang="en-US" sz="1200" dirty="0"/>
                        <a:t>CAMEL</a:t>
                      </a:r>
                    </a:p>
                  </a:txBody>
                  <a:tcPr marL="36000" marR="36000"/>
                </a:tc>
                <a:extLst>
                  <a:ext uri="{0D108BD9-81ED-4DB2-BD59-A6C34878D82A}">
                    <a16:rowId xmlns:a16="http://schemas.microsoft.com/office/drawing/2014/main" val="10007"/>
                  </a:ext>
                </a:extLst>
              </a:tr>
            </a:tbl>
          </a:graphicData>
        </a:graphic>
      </p:graphicFrame>
      <p:sp>
        <p:nvSpPr>
          <p:cNvPr id="6" name="Title 5"/>
          <p:cNvSpPr>
            <a:spLocks noGrp="1"/>
          </p:cNvSpPr>
          <p:nvPr>
            <p:ph type="title"/>
          </p:nvPr>
        </p:nvSpPr>
        <p:spPr/>
        <p:txBody>
          <a:bodyPr/>
          <a:lstStyle/>
          <a:p>
            <a:r>
              <a:rPr lang="en-US" dirty="0"/>
              <a:t>Explaining Exploratory test</a:t>
            </a:r>
          </a:p>
        </p:txBody>
      </p:sp>
      <p:sp>
        <p:nvSpPr>
          <p:cNvPr id="8" name="Content Placeholder 7"/>
          <p:cNvSpPr>
            <a:spLocks noGrp="1"/>
          </p:cNvSpPr>
          <p:nvPr>
            <p:ph sz="quarter" idx="13"/>
          </p:nvPr>
        </p:nvSpPr>
        <p:spPr/>
        <p:txBody>
          <a:bodyPr/>
          <a:lstStyle/>
          <a:p>
            <a:r>
              <a:rPr lang="en-US" dirty="0"/>
              <a:t>A set of example cubes “created” by experts</a:t>
            </a:r>
          </a:p>
          <a:p>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solidFill>
            <a:schemeClr val="tx1"/>
          </a:solidFill>
        </p:spPr>
        <p:txBody>
          <a:bodyPr lIns="180000" rIns="180000" anchor="ctr" anchorCtr="0"/>
          <a:lstStyle/>
          <a:p>
            <a:r>
              <a:rPr lang="en-US" sz="1800" b="1" dirty="0">
                <a:solidFill>
                  <a:schemeClr val="bg1"/>
                </a:solidFill>
              </a:rPr>
              <a:t>Rolled cubes:</a:t>
            </a:r>
            <a:r>
              <a:rPr lang="en-US" sz="1800" dirty="0">
                <a:solidFill>
                  <a:schemeClr val="bg1"/>
                </a:solidFill>
              </a:rPr>
              <a:t> CMM -&gt; Faulty SWO -&gt; </a:t>
            </a:r>
            <a:r>
              <a:rPr lang="en-US" sz="1800" dirty="0" err="1">
                <a:solidFill>
                  <a:schemeClr val="bg1"/>
                </a:solidFill>
              </a:rPr>
              <a:t>ClearCode</a:t>
            </a:r>
            <a:r>
              <a:rPr lang="en-US" sz="1800" dirty="0">
                <a:solidFill>
                  <a:schemeClr val="bg1"/>
                </a:solidFill>
              </a:rPr>
              <a:t> -&gt; A/</a:t>
            </a:r>
            <a:r>
              <a:rPr lang="en-US" sz="1800" dirty="0" err="1">
                <a:solidFill>
                  <a:schemeClr val="bg1"/>
                </a:solidFill>
              </a:rPr>
              <a:t>Iu</a:t>
            </a:r>
            <a:r>
              <a:rPr lang="en-US" sz="1800" dirty="0">
                <a:solidFill>
                  <a:schemeClr val="bg1"/>
                </a:solidFill>
              </a:rPr>
              <a:t> </a:t>
            </a:r>
            <a:r>
              <a:rPr lang="en-US" sz="1800" dirty="0" err="1">
                <a:solidFill>
                  <a:schemeClr val="bg1"/>
                </a:solidFill>
              </a:rPr>
              <a:t>interaface</a:t>
            </a:r>
            <a:endParaRPr lang="en-US" sz="1800" dirty="0">
              <a:solidFill>
                <a:schemeClr val="bg1"/>
              </a:solidFill>
            </a:endParaRPr>
          </a:p>
          <a:p>
            <a:r>
              <a:rPr lang="en-US" sz="1800" b="1" dirty="0">
                <a:solidFill>
                  <a:schemeClr val="bg1"/>
                </a:solidFill>
              </a:rPr>
              <a:t>Test Case scope:</a:t>
            </a:r>
            <a:r>
              <a:rPr lang="en-US" sz="1800" dirty="0">
                <a:solidFill>
                  <a:schemeClr val="bg1"/>
                </a:solidFill>
              </a:rPr>
              <a:t> CMM faulty switchover during traffic</a:t>
            </a:r>
          </a:p>
          <a:p>
            <a:r>
              <a:rPr lang="en-US" sz="1800" b="1" dirty="0">
                <a:solidFill>
                  <a:schemeClr val="bg1"/>
                </a:solidFill>
              </a:rPr>
              <a:t>Pre-requisite:</a:t>
            </a:r>
            <a:r>
              <a:rPr lang="en-US" sz="1800" dirty="0">
                <a:solidFill>
                  <a:schemeClr val="bg1"/>
                </a:solidFill>
              </a:rPr>
              <a:t> MSS is running with traffic. WO/SP-CMM are running smoothly.</a:t>
            </a:r>
          </a:p>
          <a:p>
            <a:r>
              <a:rPr lang="en-US" sz="1800" b="1" dirty="0">
                <a:solidFill>
                  <a:schemeClr val="bg1"/>
                </a:solidFill>
              </a:rPr>
              <a:t>Execution: </a:t>
            </a:r>
            <a:r>
              <a:rPr lang="en-US" sz="1800" dirty="0">
                <a:solidFill>
                  <a:schemeClr val="bg1"/>
                </a:solidFill>
              </a:rPr>
              <a:t>Issue faulty CMM switchover for WO-CMM (simulate </a:t>
            </a:r>
            <a:r>
              <a:rPr lang="en-US" sz="1800" dirty="0" err="1">
                <a:solidFill>
                  <a:schemeClr val="bg1"/>
                </a:solidFill>
              </a:rPr>
              <a:t>hw</a:t>
            </a:r>
            <a:r>
              <a:rPr lang="en-US" sz="1800" dirty="0">
                <a:solidFill>
                  <a:schemeClr val="bg1"/>
                </a:solidFill>
              </a:rPr>
              <a:t> failure) </a:t>
            </a:r>
          </a:p>
          <a:p>
            <a:r>
              <a:rPr lang="en-US" sz="1800" b="1" dirty="0" err="1">
                <a:solidFill>
                  <a:schemeClr val="bg1"/>
                </a:solidFill>
              </a:rPr>
              <a:t>ExpRes</a:t>
            </a:r>
            <a:r>
              <a:rPr lang="en-US" sz="1800" b="1" dirty="0">
                <a:solidFill>
                  <a:schemeClr val="bg1"/>
                </a:solidFill>
              </a:rPr>
              <a:t>: </a:t>
            </a:r>
            <a:r>
              <a:rPr lang="en-US" sz="1800" dirty="0">
                <a:solidFill>
                  <a:schemeClr val="bg1"/>
                </a:solidFill>
              </a:rPr>
              <a:t>CMM is 2N redundant unit, CMM is the heart of the system (main DB copies are stored in its memory).  If WO-CMM goes faulty switch over should happen without any  traffic outage. SP-CMM should take over the traffic and the tasks smoothly</a:t>
            </a:r>
          </a:p>
        </p:txBody>
      </p:sp>
      <p:sp>
        <p:nvSpPr>
          <p:cNvPr id="6" name="Title 5"/>
          <p:cNvSpPr>
            <a:spLocks noGrp="1"/>
          </p:cNvSpPr>
          <p:nvPr>
            <p:ph type="title"/>
          </p:nvPr>
        </p:nvSpPr>
        <p:spPr/>
        <p:txBody>
          <a:bodyPr/>
          <a:lstStyle/>
          <a:p>
            <a:r>
              <a:rPr lang="en-US" dirty="0"/>
              <a:t>Explaining Exploratory test</a:t>
            </a:r>
          </a:p>
        </p:txBody>
      </p:sp>
      <p:sp>
        <p:nvSpPr>
          <p:cNvPr id="8" name="Content Placeholder 7"/>
          <p:cNvSpPr>
            <a:spLocks noGrp="1"/>
          </p:cNvSpPr>
          <p:nvPr>
            <p:ph sz="quarter" idx="13"/>
          </p:nvPr>
        </p:nvSpPr>
        <p:spPr/>
        <p:txBody>
          <a:bodyPr/>
          <a:lstStyle/>
          <a:p>
            <a:r>
              <a:rPr lang="en-US" dirty="0"/>
              <a:t>A testing story by an expert</a:t>
            </a:r>
          </a:p>
          <a:p>
            <a:endParaRPr lang="en-US" dirty="0"/>
          </a:p>
        </p:txBody>
      </p:sp>
    </p:spTree>
    <p:extLst>
      <p:ext uri="{BB962C8B-B14F-4D97-AF65-F5344CB8AC3E}">
        <p14:creationId xmlns:p14="http://schemas.microsoft.com/office/powerpoint/2010/main" val="3514721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le 1"/>
          <p:cNvSpPr>
            <a:spLocks noGrp="1"/>
          </p:cNvSpPr>
          <p:nvPr>
            <p:ph type="title"/>
          </p:nvPr>
        </p:nvSpPr>
        <p:spPr>
          <a:xfrm>
            <a:off x="417513" y="279400"/>
            <a:ext cx="8229600" cy="311150"/>
          </a:xfrm>
        </p:spPr>
        <p:txBody>
          <a:bodyPr/>
          <a:lstStyle/>
          <a:p>
            <a:r>
              <a:rPr lang="en-US" dirty="0"/>
              <a:t>Explaining Exploratory test</a:t>
            </a:r>
            <a:endParaRPr lang="en-US" sz="1800" dirty="0">
              <a:ea typeface="ヒラギノ角ゴ Pro W3"/>
              <a:cs typeface="Arial" charset="0"/>
            </a:endParaRPr>
          </a:p>
        </p:txBody>
      </p:sp>
      <p:sp>
        <p:nvSpPr>
          <p:cNvPr id="15362" name="Text Placeholder 5"/>
          <p:cNvSpPr>
            <a:spLocks noGrp="1"/>
          </p:cNvSpPr>
          <p:nvPr>
            <p:ph type="body" sz="quarter" idx="4294967295"/>
          </p:nvPr>
        </p:nvSpPr>
        <p:spPr>
          <a:xfrm>
            <a:off x="417513" y="536575"/>
            <a:ext cx="8229600" cy="301625"/>
          </a:xfrm>
        </p:spPr>
        <p:txBody>
          <a:bodyPr/>
          <a:lstStyle/>
          <a:p>
            <a:pPr marL="0" indent="0" eaLnBrk="1" hangingPunct="1">
              <a:buNone/>
            </a:pPr>
            <a:r>
              <a:rPr lang="en-US" sz="1800" dirty="0">
                <a:latin typeface="+mj-lt"/>
                <a:ea typeface="ヒラギノ角ゴ Pro W3"/>
                <a:cs typeface="ヒラギノ角ゴ Pro W3"/>
              </a:rPr>
              <a:t>from scripted testing</a:t>
            </a:r>
          </a:p>
          <a:p>
            <a:pPr marL="0" indent="0" eaLnBrk="1" hangingPunct="1">
              <a:buNone/>
            </a:pPr>
            <a:endParaRPr lang="en-US" sz="1800" dirty="0">
              <a:latin typeface="+mj-lt"/>
              <a:ea typeface="ヒラギノ角ゴ Pro W3"/>
              <a:cs typeface="ヒラギノ角ゴ Pro W3"/>
            </a:endParaRPr>
          </a:p>
        </p:txBody>
      </p:sp>
      <p:sp>
        <p:nvSpPr>
          <p:cNvPr id="15378" name="TextBox 45"/>
          <p:cNvSpPr txBox="1">
            <a:spLocks noChangeArrowheads="1"/>
          </p:cNvSpPr>
          <p:nvPr/>
        </p:nvSpPr>
        <p:spPr bwMode="auto">
          <a:xfrm>
            <a:off x="6048375" y="3238770"/>
            <a:ext cx="2662238" cy="1079500"/>
          </a:xfrm>
          <a:prstGeom prst="rect">
            <a:avLst/>
          </a:prstGeom>
          <a:noFill/>
          <a:ln w="9525">
            <a:noFill/>
            <a:miter lim="800000"/>
            <a:headEnd/>
            <a:tailEnd/>
          </a:ln>
        </p:spPr>
        <p:txBody>
          <a:bodyPr lIns="46800" rIns="46800" anchor="b"/>
          <a:lstStyle/>
          <a:p>
            <a:pPr algn="r"/>
            <a:r>
              <a:rPr lang="en-US" sz="7200" b="1" dirty="0">
                <a:solidFill>
                  <a:schemeClr val="bg1"/>
                </a:solidFill>
                <a:latin typeface="+mn-lt"/>
                <a:cs typeface="Arial" charset="0"/>
              </a:rPr>
              <a:t>15</a:t>
            </a:r>
          </a:p>
        </p:txBody>
      </p:sp>
      <p:sp>
        <p:nvSpPr>
          <p:cNvPr id="48" name="AutoShape 4"/>
          <p:cNvSpPr>
            <a:spLocks noChangeArrowheads="1"/>
          </p:cNvSpPr>
          <p:nvPr/>
        </p:nvSpPr>
        <p:spPr bwMode="auto">
          <a:xfrm>
            <a:off x="7369654" y="1447435"/>
            <a:ext cx="1299683" cy="863600"/>
          </a:xfrm>
          <a:prstGeom prst="round1Rect">
            <a:avLst>
              <a:gd name="adj" fmla="val 0"/>
            </a:avLst>
          </a:prstGeom>
          <a:solidFill>
            <a:schemeClr val="accent1"/>
          </a:solidFill>
          <a:ln w="28575">
            <a:noFill/>
            <a:round/>
            <a:headEnd/>
            <a:tailEnd/>
          </a:ln>
        </p:spPr>
        <p:txBody>
          <a:bodyPr lIns="89905" tIns="46755" rIns="89905" bIns="46755"/>
          <a:lstStyle/>
          <a:p>
            <a:pPr defTabSz="604109" eaLnBrk="0" hangingPunct="0">
              <a:buClr>
                <a:srgbClr val="FFCC00"/>
              </a:buClr>
            </a:pPr>
            <a:r>
              <a:rPr lang="en-GB" sz="1200" dirty="0">
                <a:solidFill>
                  <a:srgbClr val="124191"/>
                </a:solidFill>
                <a:latin typeface="Nokia Pure Text Light"/>
                <a:cs typeface="Arial MT"/>
              </a:rPr>
              <a:t>Test setup for SUT</a:t>
            </a:r>
            <a:endParaRPr lang="en-US" sz="1200" dirty="0">
              <a:solidFill>
                <a:srgbClr val="124191"/>
              </a:solidFill>
              <a:latin typeface="Nokia Pure Text Light"/>
              <a:cs typeface="Arial MT"/>
            </a:endParaRPr>
          </a:p>
        </p:txBody>
      </p:sp>
      <p:sp>
        <p:nvSpPr>
          <p:cNvPr id="53" name="Rectangle 87"/>
          <p:cNvSpPr/>
          <p:nvPr/>
        </p:nvSpPr>
        <p:spPr>
          <a:xfrm>
            <a:off x="5143405" y="834442"/>
            <a:ext cx="1533696" cy="4191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108000" bIns="72000" anchor="ctr">
            <a:noAutofit/>
          </a:bodyPr>
          <a:lstStyle/>
          <a:p>
            <a:pPr algn="ctr">
              <a:defRPr/>
            </a:pPr>
            <a:r>
              <a:rPr lang="en-US" sz="1600" b="1" dirty="0">
                <a:solidFill>
                  <a:srgbClr val="68717A"/>
                </a:solidFill>
                <a:latin typeface="Nokia Pure Text Light"/>
              </a:rPr>
              <a:t>TEST CASE</a:t>
            </a:r>
            <a:endParaRPr lang="en-US" altLang="zh-CN" sz="1600" dirty="0">
              <a:solidFill>
                <a:srgbClr val="68717A"/>
              </a:solidFill>
              <a:latin typeface="Nokia Pure Text Light"/>
              <a:ea typeface="MS PGothic" pitchFamily="34" charset="-128"/>
            </a:endParaRPr>
          </a:p>
        </p:txBody>
      </p:sp>
      <p:sp>
        <p:nvSpPr>
          <p:cNvPr id="54" name="AutoShape 4"/>
          <p:cNvSpPr>
            <a:spLocks noChangeArrowheads="1"/>
          </p:cNvSpPr>
          <p:nvPr/>
        </p:nvSpPr>
        <p:spPr bwMode="auto">
          <a:xfrm>
            <a:off x="3179676" y="1393460"/>
            <a:ext cx="1284373" cy="863600"/>
          </a:xfrm>
          <a:prstGeom prst="round1Rect">
            <a:avLst>
              <a:gd name="adj" fmla="val 0"/>
            </a:avLst>
          </a:prstGeom>
          <a:solidFill>
            <a:schemeClr val="accent1"/>
          </a:solidFill>
          <a:ln w="28575">
            <a:noFill/>
            <a:round/>
            <a:headEnd/>
            <a:tailEnd/>
          </a:ln>
        </p:spPr>
        <p:txBody>
          <a:bodyPr lIns="89905" tIns="46755" rIns="89905" bIns="46755"/>
          <a:lstStyle/>
          <a:p>
            <a:pPr defTabSz="604109" eaLnBrk="0" hangingPunct="0">
              <a:buClr>
                <a:srgbClr val="FFCC00"/>
              </a:buClr>
              <a:defRPr/>
            </a:pPr>
            <a:r>
              <a:rPr lang="en-GB" sz="1200" dirty="0">
                <a:solidFill>
                  <a:srgbClr val="124191"/>
                </a:solidFill>
                <a:latin typeface="Nokia Pure Text Light"/>
                <a:cs typeface="Arial MT"/>
              </a:rPr>
              <a:t>Test setup for SUT</a:t>
            </a:r>
            <a:endParaRPr lang="en-US" sz="1200" dirty="0">
              <a:solidFill>
                <a:srgbClr val="124191"/>
              </a:solidFill>
              <a:latin typeface="Nokia Pure Text Light"/>
              <a:cs typeface="Arial MT"/>
            </a:endParaRPr>
          </a:p>
        </p:txBody>
      </p:sp>
      <p:sp>
        <p:nvSpPr>
          <p:cNvPr id="61" name="Rectangle 87"/>
          <p:cNvSpPr/>
          <p:nvPr/>
        </p:nvSpPr>
        <p:spPr>
          <a:xfrm>
            <a:off x="378066" y="1051784"/>
            <a:ext cx="1352550" cy="581025"/>
          </a:xfrm>
          <a:prstGeom prst="rect">
            <a:avLst/>
          </a:prstGeom>
          <a:solidFill>
            <a:schemeClr val="accent4"/>
          </a:solidFill>
          <a:ln w="3175">
            <a:solidFill>
              <a:srgbClr val="68717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108000" bIns="72000" anchor="ctr">
            <a:noAutofit/>
          </a:bodyPr>
          <a:lstStyle/>
          <a:p>
            <a:pPr algn="ctr">
              <a:defRPr/>
            </a:pPr>
            <a:r>
              <a:rPr lang="en-US" altLang="zh-CN" sz="1200" dirty="0">
                <a:solidFill>
                  <a:schemeClr val="tx1"/>
                </a:solidFill>
                <a:latin typeface="Nokia Pure Text Light"/>
              </a:rPr>
              <a:t>Abnormal setup to SUT</a:t>
            </a:r>
            <a:endParaRPr lang="en-US" altLang="zh-CN" sz="1200" dirty="0">
              <a:solidFill>
                <a:schemeClr val="tx1"/>
              </a:solidFill>
              <a:latin typeface="Nokia Pure Text Light"/>
              <a:ea typeface="MS PGothic" pitchFamily="34" charset="-128"/>
            </a:endParaRPr>
          </a:p>
        </p:txBody>
      </p:sp>
      <p:sp>
        <p:nvSpPr>
          <p:cNvPr id="62" name="Rectangle 87"/>
          <p:cNvSpPr/>
          <p:nvPr/>
        </p:nvSpPr>
        <p:spPr>
          <a:xfrm>
            <a:off x="933450" y="1599835"/>
            <a:ext cx="1352550" cy="581025"/>
          </a:xfrm>
          <a:prstGeom prst="rect">
            <a:avLst/>
          </a:prstGeom>
          <a:solidFill>
            <a:schemeClr val="accent4"/>
          </a:solidFill>
          <a:ln w="3175">
            <a:solidFill>
              <a:srgbClr val="68717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108000" bIns="72000" anchor="ctr">
            <a:noAutofit/>
          </a:bodyPr>
          <a:lstStyle/>
          <a:p>
            <a:pPr algn="ctr">
              <a:defRPr/>
            </a:pPr>
            <a:r>
              <a:rPr lang="en-US" altLang="zh-CN" sz="1200" dirty="0" err="1">
                <a:solidFill>
                  <a:schemeClr val="tx1"/>
                </a:solidFill>
                <a:latin typeface="Nokia Pure Text Light"/>
              </a:rPr>
              <a:t>misconfigure</a:t>
            </a:r>
            <a:r>
              <a:rPr lang="en-US" altLang="zh-CN" sz="1200" dirty="0">
                <a:solidFill>
                  <a:schemeClr val="tx1"/>
                </a:solidFill>
                <a:latin typeface="Nokia Pure Text Light"/>
              </a:rPr>
              <a:t> feature X</a:t>
            </a:r>
            <a:endParaRPr lang="en-US" altLang="zh-CN" sz="1200" dirty="0">
              <a:solidFill>
                <a:schemeClr val="tx1"/>
              </a:solidFill>
              <a:latin typeface="Nokia Pure Text Light"/>
              <a:ea typeface="MS PGothic" pitchFamily="34" charset="-128"/>
            </a:endParaRPr>
          </a:p>
        </p:txBody>
      </p:sp>
      <p:sp>
        <p:nvSpPr>
          <p:cNvPr id="63" name="Rectangle 87"/>
          <p:cNvSpPr/>
          <p:nvPr/>
        </p:nvSpPr>
        <p:spPr>
          <a:xfrm>
            <a:off x="1565952" y="2114366"/>
            <a:ext cx="1352550" cy="581025"/>
          </a:xfrm>
          <a:prstGeom prst="rect">
            <a:avLst/>
          </a:prstGeom>
          <a:solidFill>
            <a:schemeClr val="accent4"/>
          </a:solidFill>
          <a:ln w="317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108000" bIns="72000" anchor="ctr">
            <a:noAutofit/>
          </a:bodyPr>
          <a:lstStyle/>
          <a:p>
            <a:pPr algn="ctr">
              <a:defRPr/>
            </a:pPr>
            <a:r>
              <a:rPr lang="en-US" altLang="zh-CN" sz="1200" dirty="0">
                <a:solidFill>
                  <a:schemeClr val="tx1"/>
                </a:solidFill>
                <a:latin typeface="Nokia Pure Text Light"/>
              </a:rPr>
              <a:t>Use of abnormal conditions in variables</a:t>
            </a:r>
            <a:endParaRPr lang="en-US" altLang="zh-CN" sz="1200" dirty="0">
              <a:solidFill>
                <a:schemeClr val="tx1"/>
              </a:solidFill>
              <a:latin typeface="Nokia Pure Text Light"/>
              <a:ea typeface="MS PGothic" pitchFamily="34" charset="-128"/>
            </a:endParaRPr>
          </a:p>
        </p:txBody>
      </p:sp>
      <p:sp>
        <p:nvSpPr>
          <p:cNvPr id="64" name="Right Arrow 63"/>
          <p:cNvSpPr/>
          <p:nvPr/>
        </p:nvSpPr>
        <p:spPr>
          <a:xfrm>
            <a:off x="2559050" y="1634760"/>
            <a:ext cx="508000" cy="406400"/>
          </a:xfrm>
          <a:prstGeom prst="right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fi-FI" dirty="0">
              <a:solidFill>
                <a:schemeClr val="accent4"/>
              </a:solidFill>
            </a:endParaRPr>
          </a:p>
        </p:txBody>
      </p:sp>
      <p:sp>
        <p:nvSpPr>
          <p:cNvPr id="67" name="AutoShape 4"/>
          <p:cNvSpPr>
            <a:spLocks noChangeArrowheads="1"/>
          </p:cNvSpPr>
          <p:nvPr/>
        </p:nvSpPr>
        <p:spPr bwMode="auto">
          <a:xfrm>
            <a:off x="3179677" y="2777760"/>
            <a:ext cx="1282412" cy="438150"/>
          </a:xfrm>
          <a:prstGeom prst="round1Rect">
            <a:avLst>
              <a:gd name="adj" fmla="val 0"/>
            </a:avLst>
          </a:prstGeom>
          <a:solidFill>
            <a:schemeClr val="accent1"/>
          </a:solidFill>
          <a:ln w="28575">
            <a:noFill/>
            <a:round/>
            <a:headEnd/>
            <a:tailEnd/>
          </a:ln>
        </p:spPr>
        <p:txBody>
          <a:bodyPr lIns="89905" tIns="46755" rIns="89905" bIns="46755"/>
          <a:lstStyle/>
          <a:p>
            <a:pPr defTabSz="604109" eaLnBrk="0" hangingPunct="0">
              <a:buClr>
                <a:srgbClr val="FFCC00"/>
              </a:buClr>
              <a:defRPr/>
            </a:pPr>
            <a:r>
              <a:rPr lang="en-GB" sz="1200" dirty="0">
                <a:solidFill>
                  <a:srgbClr val="124191"/>
                </a:solidFill>
                <a:latin typeface="Nokia Pure Text Light"/>
                <a:cs typeface="Arial MT"/>
              </a:rPr>
              <a:t>Test execution</a:t>
            </a:r>
            <a:endParaRPr lang="en-US" sz="1200" dirty="0">
              <a:solidFill>
                <a:srgbClr val="124191"/>
              </a:solidFill>
              <a:latin typeface="Nokia Pure Text Light"/>
              <a:cs typeface="Arial MT"/>
            </a:endParaRPr>
          </a:p>
        </p:txBody>
      </p:sp>
      <p:sp>
        <p:nvSpPr>
          <p:cNvPr id="68" name="Rectangle 87"/>
          <p:cNvSpPr/>
          <p:nvPr/>
        </p:nvSpPr>
        <p:spPr>
          <a:xfrm>
            <a:off x="409816" y="2803648"/>
            <a:ext cx="1352550" cy="581025"/>
          </a:xfrm>
          <a:prstGeom prst="rect">
            <a:avLst/>
          </a:prstGeom>
          <a:solidFill>
            <a:schemeClr val="accent4"/>
          </a:solidFill>
          <a:ln w="3175">
            <a:solidFill>
              <a:srgbClr val="68717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108000" bIns="72000" anchor="ctr">
            <a:noAutofit/>
          </a:bodyPr>
          <a:lstStyle/>
          <a:p>
            <a:pPr algn="ctr">
              <a:defRPr/>
            </a:pPr>
            <a:r>
              <a:rPr lang="en-US" altLang="zh-CN" sz="1200" dirty="0">
                <a:solidFill>
                  <a:schemeClr val="tx1"/>
                </a:solidFill>
                <a:latin typeface="Nokia Pure Text Light"/>
              </a:rPr>
              <a:t>Simultaneous test event</a:t>
            </a:r>
            <a:endParaRPr lang="en-US" altLang="zh-CN" sz="1200" dirty="0">
              <a:solidFill>
                <a:schemeClr val="tx1"/>
              </a:solidFill>
              <a:latin typeface="Nokia Pure Text Light"/>
              <a:ea typeface="MS PGothic" pitchFamily="34" charset="-128"/>
            </a:endParaRPr>
          </a:p>
        </p:txBody>
      </p:sp>
      <p:sp>
        <p:nvSpPr>
          <p:cNvPr id="69" name="Rectangle 87"/>
          <p:cNvSpPr/>
          <p:nvPr/>
        </p:nvSpPr>
        <p:spPr>
          <a:xfrm>
            <a:off x="965200" y="3362332"/>
            <a:ext cx="1352550" cy="581025"/>
          </a:xfrm>
          <a:prstGeom prst="rect">
            <a:avLst/>
          </a:prstGeom>
          <a:solidFill>
            <a:schemeClr val="accent4"/>
          </a:solidFill>
          <a:ln w="3175">
            <a:solidFill>
              <a:srgbClr val="68717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108000" bIns="72000" anchor="ctr">
            <a:noAutofit/>
          </a:bodyPr>
          <a:lstStyle/>
          <a:p>
            <a:pPr algn="ctr">
              <a:defRPr/>
            </a:pPr>
            <a:r>
              <a:rPr lang="en-US" altLang="zh-CN" sz="1200" dirty="0">
                <a:solidFill>
                  <a:schemeClr val="tx1"/>
                </a:solidFill>
                <a:latin typeface="Nokia Pure Text Light"/>
              </a:rPr>
              <a:t>Distracting the SUT</a:t>
            </a:r>
            <a:endParaRPr lang="en-US" altLang="zh-CN" sz="1200" dirty="0">
              <a:solidFill>
                <a:schemeClr val="tx1"/>
              </a:solidFill>
              <a:latin typeface="Nokia Pure Text Light"/>
              <a:ea typeface="MS PGothic" pitchFamily="34" charset="-128"/>
            </a:endParaRPr>
          </a:p>
        </p:txBody>
      </p:sp>
      <p:sp>
        <p:nvSpPr>
          <p:cNvPr id="70" name="Rectangle 87"/>
          <p:cNvSpPr/>
          <p:nvPr/>
        </p:nvSpPr>
        <p:spPr>
          <a:xfrm>
            <a:off x="1559602" y="3904628"/>
            <a:ext cx="1352550" cy="581025"/>
          </a:xfrm>
          <a:prstGeom prst="rect">
            <a:avLst/>
          </a:prstGeom>
          <a:solidFill>
            <a:schemeClr val="accent4"/>
          </a:solidFill>
          <a:ln w="3175">
            <a:solidFill>
              <a:srgbClr val="68717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108000" bIns="72000" anchor="ctr">
            <a:noAutofit/>
          </a:bodyPr>
          <a:lstStyle/>
          <a:p>
            <a:pPr algn="ctr">
              <a:defRPr/>
            </a:pPr>
            <a:r>
              <a:rPr lang="en-US" altLang="zh-CN" sz="1200" dirty="0">
                <a:solidFill>
                  <a:schemeClr val="tx1"/>
                </a:solidFill>
                <a:latin typeface="Nokia Pure Text Light"/>
              </a:rPr>
              <a:t>Modify configuration</a:t>
            </a:r>
            <a:endParaRPr lang="en-US" altLang="zh-CN" sz="1200" dirty="0">
              <a:solidFill>
                <a:schemeClr val="tx1"/>
              </a:solidFill>
              <a:latin typeface="Nokia Pure Text Light"/>
              <a:ea typeface="MS PGothic" pitchFamily="34" charset="-128"/>
            </a:endParaRPr>
          </a:p>
        </p:txBody>
      </p:sp>
      <p:sp>
        <p:nvSpPr>
          <p:cNvPr id="71" name="Right Arrow 70"/>
          <p:cNvSpPr/>
          <p:nvPr/>
        </p:nvSpPr>
        <p:spPr>
          <a:xfrm>
            <a:off x="2559050" y="2837272"/>
            <a:ext cx="508000" cy="406400"/>
          </a:xfrm>
          <a:prstGeom prst="right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fi-FI" dirty="0">
              <a:solidFill>
                <a:schemeClr val="accent4"/>
              </a:solidFill>
            </a:endParaRPr>
          </a:p>
        </p:txBody>
      </p:sp>
      <p:sp>
        <p:nvSpPr>
          <p:cNvPr id="75" name="AutoShape 4"/>
          <p:cNvSpPr>
            <a:spLocks noChangeArrowheads="1"/>
          </p:cNvSpPr>
          <p:nvPr/>
        </p:nvSpPr>
        <p:spPr bwMode="auto">
          <a:xfrm>
            <a:off x="7369654" y="2782124"/>
            <a:ext cx="1299684" cy="438150"/>
          </a:xfrm>
          <a:prstGeom prst="round1Rect">
            <a:avLst>
              <a:gd name="adj" fmla="val 0"/>
            </a:avLst>
          </a:prstGeom>
          <a:solidFill>
            <a:schemeClr val="accent1"/>
          </a:solidFill>
          <a:ln w="28575">
            <a:noFill/>
            <a:round/>
            <a:headEnd/>
            <a:tailEnd/>
          </a:ln>
        </p:spPr>
        <p:txBody>
          <a:bodyPr lIns="89905" tIns="46755" rIns="89905" bIns="46755"/>
          <a:lstStyle/>
          <a:p>
            <a:pPr defTabSz="604109" eaLnBrk="0" hangingPunct="0">
              <a:buClr>
                <a:srgbClr val="FFCC00"/>
              </a:buClr>
              <a:defRPr/>
            </a:pPr>
            <a:r>
              <a:rPr lang="en-GB" sz="1200" dirty="0">
                <a:solidFill>
                  <a:srgbClr val="124191"/>
                </a:solidFill>
                <a:latin typeface="Nokia Pure Text Light"/>
                <a:cs typeface="Arial MT"/>
              </a:rPr>
              <a:t>Test execution</a:t>
            </a:r>
            <a:endParaRPr lang="en-US" sz="1200" dirty="0">
              <a:solidFill>
                <a:srgbClr val="124191"/>
              </a:solidFill>
              <a:latin typeface="Nokia Pure Text Light"/>
              <a:cs typeface="Arial MT"/>
            </a:endParaRPr>
          </a:p>
        </p:txBody>
      </p:sp>
      <p:sp>
        <p:nvSpPr>
          <p:cNvPr id="77" name="AutoShape 4"/>
          <p:cNvSpPr>
            <a:spLocks noChangeArrowheads="1"/>
          </p:cNvSpPr>
          <p:nvPr/>
        </p:nvSpPr>
        <p:spPr bwMode="auto">
          <a:xfrm>
            <a:off x="3179677" y="3482610"/>
            <a:ext cx="1282412" cy="438150"/>
          </a:xfrm>
          <a:prstGeom prst="round1Rect">
            <a:avLst>
              <a:gd name="adj" fmla="val 0"/>
            </a:avLst>
          </a:prstGeom>
          <a:solidFill>
            <a:srgbClr val="92D050"/>
          </a:solidFill>
          <a:ln w="28575">
            <a:noFill/>
            <a:round/>
            <a:headEnd/>
            <a:tailEnd/>
          </a:ln>
        </p:spPr>
        <p:txBody>
          <a:bodyPr lIns="89905" tIns="46755" rIns="89905" bIns="46755"/>
          <a:lstStyle/>
          <a:p>
            <a:pPr defTabSz="604109" eaLnBrk="0" hangingPunct="0">
              <a:buClr>
                <a:srgbClr val="FFCC00"/>
              </a:buClr>
              <a:defRPr/>
            </a:pPr>
            <a:r>
              <a:rPr lang="en-GB" sz="1200" dirty="0">
                <a:solidFill>
                  <a:srgbClr val="124191"/>
                </a:solidFill>
                <a:latin typeface="Nokia Pure Text Light"/>
                <a:cs typeface="Arial MT"/>
              </a:rPr>
              <a:t>OK result</a:t>
            </a:r>
            <a:endParaRPr lang="en-US" sz="1200" dirty="0">
              <a:solidFill>
                <a:srgbClr val="124191"/>
              </a:solidFill>
              <a:latin typeface="Nokia Pure Text Light"/>
              <a:cs typeface="Arial MT"/>
            </a:endParaRPr>
          </a:p>
        </p:txBody>
      </p:sp>
      <p:sp>
        <p:nvSpPr>
          <p:cNvPr id="78" name="AutoShape 4"/>
          <p:cNvSpPr>
            <a:spLocks noChangeArrowheads="1"/>
          </p:cNvSpPr>
          <p:nvPr/>
        </p:nvSpPr>
        <p:spPr bwMode="auto">
          <a:xfrm>
            <a:off x="5116601" y="3491434"/>
            <a:ext cx="1499328" cy="438150"/>
          </a:xfrm>
          <a:prstGeom prst="round1Rect">
            <a:avLst>
              <a:gd name="adj" fmla="val 0"/>
            </a:avLst>
          </a:prstGeom>
          <a:solidFill>
            <a:srgbClr val="ED9D9D"/>
          </a:solidFill>
          <a:ln w="28575">
            <a:noFill/>
            <a:round/>
            <a:headEnd/>
            <a:tailEnd/>
          </a:ln>
        </p:spPr>
        <p:txBody>
          <a:bodyPr lIns="89905" tIns="46755" rIns="89905" bIns="46755"/>
          <a:lstStyle/>
          <a:p>
            <a:pPr defTabSz="604109" eaLnBrk="0" hangingPunct="0">
              <a:buClr>
                <a:srgbClr val="FFCC00"/>
              </a:buClr>
              <a:defRPr/>
            </a:pPr>
            <a:r>
              <a:rPr lang="en-GB" sz="1200" dirty="0">
                <a:solidFill>
                  <a:srgbClr val="124191"/>
                </a:solidFill>
                <a:latin typeface="Nokia Pure Text Light"/>
                <a:cs typeface="Arial MT"/>
              </a:rPr>
              <a:t>NOK result</a:t>
            </a:r>
            <a:endParaRPr lang="en-US" sz="1200" dirty="0">
              <a:solidFill>
                <a:srgbClr val="124191"/>
              </a:solidFill>
              <a:latin typeface="Nokia Pure Text Light"/>
              <a:cs typeface="Arial MT"/>
            </a:endParaRPr>
          </a:p>
        </p:txBody>
      </p:sp>
      <p:sp>
        <p:nvSpPr>
          <p:cNvPr id="79" name="AutoShape 4"/>
          <p:cNvSpPr>
            <a:spLocks noChangeArrowheads="1"/>
          </p:cNvSpPr>
          <p:nvPr/>
        </p:nvSpPr>
        <p:spPr bwMode="auto">
          <a:xfrm>
            <a:off x="5116602" y="2777760"/>
            <a:ext cx="1524178" cy="438150"/>
          </a:xfrm>
          <a:prstGeom prst="round1Rect">
            <a:avLst>
              <a:gd name="adj" fmla="val 0"/>
            </a:avLst>
          </a:prstGeom>
          <a:solidFill>
            <a:schemeClr val="accent1"/>
          </a:solidFill>
          <a:ln w="28575">
            <a:noFill/>
            <a:round/>
            <a:headEnd/>
            <a:tailEnd/>
          </a:ln>
        </p:spPr>
        <p:txBody>
          <a:bodyPr lIns="89905" tIns="46755" rIns="89905" bIns="46755"/>
          <a:lstStyle/>
          <a:p>
            <a:pPr defTabSz="604109" eaLnBrk="0" hangingPunct="0">
              <a:buClr>
                <a:srgbClr val="FFCC00"/>
              </a:buClr>
              <a:defRPr/>
            </a:pPr>
            <a:r>
              <a:rPr lang="en-GB" sz="1200" dirty="0">
                <a:solidFill>
                  <a:srgbClr val="124191"/>
                </a:solidFill>
                <a:latin typeface="Nokia Pure Text Light"/>
                <a:cs typeface="Arial MT"/>
              </a:rPr>
              <a:t>Test execution</a:t>
            </a:r>
            <a:endParaRPr lang="en-US" sz="1200" dirty="0">
              <a:solidFill>
                <a:srgbClr val="124191"/>
              </a:solidFill>
              <a:latin typeface="Nokia Pure Text Light"/>
              <a:cs typeface="Arial MT"/>
            </a:endParaRPr>
          </a:p>
        </p:txBody>
      </p:sp>
      <p:sp>
        <p:nvSpPr>
          <p:cNvPr id="94" name="Right Arrow 93"/>
          <p:cNvSpPr/>
          <p:nvPr/>
        </p:nvSpPr>
        <p:spPr>
          <a:xfrm>
            <a:off x="4525194" y="2792572"/>
            <a:ext cx="504006" cy="406400"/>
          </a:xfrm>
          <a:prstGeom prst="right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fi-FI" dirty="0">
              <a:solidFill>
                <a:schemeClr val="accent4"/>
              </a:solidFill>
            </a:endParaRPr>
          </a:p>
        </p:txBody>
      </p:sp>
      <p:cxnSp>
        <p:nvCxnSpPr>
          <p:cNvPr id="99" name="Elbow Connector 98"/>
          <p:cNvCxnSpPr>
            <a:stCxn id="53" idx="1"/>
            <a:endCxn id="54" idx="0"/>
          </p:cNvCxnSpPr>
          <p:nvPr/>
        </p:nvCxnSpPr>
        <p:spPr>
          <a:xfrm rot="10800000" flipV="1">
            <a:off x="3821863" y="1043992"/>
            <a:ext cx="1321542" cy="349468"/>
          </a:xfrm>
          <a:prstGeom prst="bentConnector2">
            <a:avLst/>
          </a:prstGeom>
          <a:ln w="19050" cmpd="sng">
            <a:solidFill>
              <a:schemeClr val="accent3"/>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01" name="Elbow Connector 100"/>
          <p:cNvCxnSpPr>
            <a:stCxn id="53" idx="3"/>
            <a:endCxn id="48" idx="0"/>
          </p:cNvCxnSpPr>
          <p:nvPr/>
        </p:nvCxnSpPr>
        <p:spPr>
          <a:xfrm>
            <a:off x="6677101" y="1043992"/>
            <a:ext cx="1342395" cy="403443"/>
          </a:xfrm>
          <a:prstGeom prst="bentConnector2">
            <a:avLst/>
          </a:prstGeom>
          <a:ln w="19050" cmpd="sng">
            <a:solidFill>
              <a:schemeClr val="accent3"/>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05" name="Elbow Connector 104"/>
          <p:cNvCxnSpPr>
            <a:endCxn id="75" idx="0"/>
          </p:cNvCxnSpPr>
          <p:nvPr/>
        </p:nvCxnSpPr>
        <p:spPr>
          <a:xfrm rot="16200000" flipH="1">
            <a:off x="7774538" y="2537166"/>
            <a:ext cx="486924" cy="2992"/>
          </a:xfrm>
          <a:prstGeom prst="bentConnector3">
            <a:avLst>
              <a:gd name="adj1" fmla="val 50000"/>
            </a:avLst>
          </a:prstGeom>
          <a:ln w="19050" cmpd="sng">
            <a:solidFill>
              <a:schemeClr val="accent3"/>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07" name="Elbow Connector 106"/>
          <p:cNvCxnSpPr>
            <a:stCxn id="54" idx="2"/>
            <a:endCxn id="67" idx="0"/>
          </p:cNvCxnSpPr>
          <p:nvPr/>
        </p:nvCxnSpPr>
        <p:spPr>
          <a:xfrm rot="5400000">
            <a:off x="3561023" y="2516920"/>
            <a:ext cx="520700" cy="980"/>
          </a:xfrm>
          <a:prstGeom prst="bentConnector3">
            <a:avLst>
              <a:gd name="adj1" fmla="val 50000"/>
            </a:avLst>
          </a:prstGeom>
          <a:ln w="19050" cmpd="sng">
            <a:solidFill>
              <a:schemeClr val="accent3"/>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18" name="Straight Arrow Connector 117"/>
          <p:cNvCxnSpPr>
            <a:stCxn id="67" idx="2"/>
            <a:endCxn id="77" idx="0"/>
          </p:cNvCxnSpPr>
          <p:nvPr/>
        </p:nvCxnSpPr>
        <p:spPr>
          <a:xfrm>
            <a:off x="3820883" y="3215910"/>
            <a:ext cx="0" cy="266700"/>
          </a:xfrm>
          <a:prstGeom prst="straightConnector1">
            <a:avLst/>
          </a:prstGeom>
          <a:ln w="19050" cmpd="sng">
            <a:solidFill>
              <a:schemeClr val="accent3"/>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20" name="Straight Arrow Connector 119"/>
          <p:cNvCxnSpPr>
            <a:stCxn id="79" idx="2"/>
            <a:endCxn id="78" idx="0"/>
          </p:cNvCxnSpPr>
          <p:nvPr/>
        </p:nvCxnSpPr>
        <p:spPr>
          <a:xfrm flipH="1">
            <a:off x="5866265" y="3215910"/>
            <a:ext cx="12426" cy="275524"/>
          </a:xfrm>
          <a:prstGeom prst="straightConnector1">
            <a:avLst/>
          </a:prstGeom>
          <a:ln w="19050" cmpd="sng">
            <a:solidFill>
              <a:schemeClr val="accent3"/>
            </a:solidFill>
            <a:tailEnd type="arrow"/>
          </a:ln>
          <a:effectLst/>
        </p:spPr>
        <p:style>
          <a:lnRef idx="2">
            <a:schemeClr val="accent1"/>
          </a:lnRef>
          <a:fillRef idx="0">
            <a:schemeClr val="accent1"/>
          </a:fillRef>
          <a:effectRef idx="1">
            <a:schemeClr val="accent1"/>
          </a:effectRef>
          <a:fontRef idx="minor">
            <a:schemeClr val="tx1"/>
          </a:fontRef>
        </p:style>
      </p:cxnSp>
      <p:sp>
        <p:nvSpPr>
          <p:cNvPr id="124" name="AutoShape 4"/>
          <p:cNvSpPr>
            <a:spLocks noChangeArrowheads="1"/>
          </p:cNvSpPr>
          <p:nvPr/>
        </p:nvSpPr>
        <p:spPr bwMode="auto">
          <a:xfrm>
            <a:off x="7369654" y="3469910"/>
            <a:ext cx="1309025" cy="438150"/>
          </a:xfrm>
          <a:prstGeom prst="round1Rect">
            <a:avLst>
              <a:gd name="adj" fmla="val 0"/>
            </a:avLst>
          </a:prstGeom>
          <a:solidFill>
            <a:srgbClr val="92D050"/>
          </a:solidFill>
          <a:ln w="28575">
            <a:noFill/>
            <a:round/>
            <a:headEnd/>
            <a:tailEnd/>
          </a:ln>
        </p:spPr>
        <p:txBody>
          <a:bodyPr lIns="89905" tIns="46755" rIns="89905" bIns="46755"/>
          <a:lstStyle/>
          <a:p>
            <a:pPr defTabSz="604109" eaLnBrk="0" hangingPunct="0">
              <a:buClr>
                <a:srgbClr val="FFCC00"/>
              </a:buClr>
              <a:defRPr/>
            </a:pPr>
            <a:r>
              <a:rPr lang="en-GB" sz="1200" dirty="0">
                <a:solidFill>
                  <a:srgbClr val="124191"/>
                </a:solidFill>
                <a:latin typeface="Nokia Pure Text Light"/>
                <a:cs typeface="Arial MT"/>
              </a:rPr>
              <a:t>OK result</a:t>
            </a:r>
            <a:endParaRPr lang="en-US" sz="1200" dirty="0">
              <a:solidFill>
                <a:srgbClr val="124191"/>
              </a:solidFill>
              <a:latin typeface="Nokia Pure Text Light"/>
              <a:cs typeface="Arial MT"/>
            </a:endParaRPr>
          </a:p>
        </p:txBody>
      </p:sp>
      <p:cxnSp>
        <p:nvCxnSpPr>
          <p:cNvPr id="125" name="Straight Arrow Connector 124"/>
          <p:cNvCxnSpPr/>
          <p:nvPr/>
        </p:nvCxnSpPr>
        <p:spPr>
          <a:xfrm>
            <a:off x="8007163" y="3218207"/>
            <a:ext cx="4671" cy="249636"/>
          </a:xfrm>
          <a:prstGeom prst="straightConnector1">
            <a:avLst/>
          </a:prstGeom>
          <a:ln w="19050" cmpd="sng">
            <a:solidFill>
              <a:schemeClr val="accent3"/>
            </a:solidFill>
            <a:tailEnd type="arrow"/>
          </a:ln>
          <a:effectLst/>
        </p:spPr>
        <p:style>
          <a:lnRef idx="2">
            <a:schemeClr val="accent1"/>
          </a:lnRef>
          <a:fillRef idx="0">
            <a:schemeClr val="accent1"/>
          </a:fillRef>
          <a:effectRef idx="1">
            <a:schemeClr val="accent1"/>
          </a:effectRef>
          <a:fontRef idx="minor">
            <a:schemeClr val="tx1"/>
          </a:fontRef>
        </p:style>
      </p:cxnSp>
      <p:pic>
        <p:nvPicPr>
          <p:cNvPr id="130" name="Picture 6" descr="C:\nokia\icon_radio_atenna.e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23574" y="1711227"/>
            <a:ext cx="291226" cy="427885"/>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6" descr="C:\nokia\icon_radio_atenna.e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73421" y="1711226"/>
            <a:ext cx="291226" cy="427885"/>
          </a:xfrm>
          <a:prstGeom prst="rect">
            <a:avLst/>
          </a:prstGeom>
          <a:noFill/>
          <a:ln>
            <a:noFill/>
          </a:ln>
          <a:extLst/>
        </p:spPr>
      </p:pic>
      <p:sp>
        <p:nvSpPr>
          <p:cNvPr id="132" name="Round Single Corner Rectangle 131"/>
          <p:cNvSpPr/>
          <p:nvPr/>
        </p:nvSpPr>
        <p:spPr>
          <a:xfrm>
            <a:off x="3179314" y="4066810"/>
            <a:ext cx="644260" cy="444500"/>
          </a:xfrm>
          <a:prstGeom prst="round1Rect">
            <a:avLst>
              <a:gd name="adj" fmla="val 0"/>
            </a:avLst>
          </a:prstGeom>
          <a:solidFill>
            <a:srgbClr val="F86C6C"/>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bIns="108000" rtlCol="0" anchor="ctr" anchorCtr="0"/>
          <a:lstStyle/>
          <a:p>
            <a:pPr algn="ctr" defTabSz="457141" fontAlgn="auto">
              <a:spcBef>
                <a:spcPts val="0"/>
              </a:spcBef>
              <a:spcAft>
                <a:spcPts val="0"/>
              </a:spcAft>
            </a:pPr>
            <a:r>
              <a:rPr lang="en-US" sz="1200" dirty="0">
                <a:solidFill>
                  <a:srgbClr val="FFFFFF"/>
                </a:solidFill>
                <a:latin typeface="Nokia Pure Text" pitchFamily="34" charset="0"/>
                <a:cs typeface="Nokia Pure Headline"/>
              </a:rPr>
              <a:t>minor fault</a:t>
            </a:r>
          </a:p>
        </p:txBody>
      </p:sp>
      <p:sp>
        <p:nvSpPr>
          <p:cNvPr id="135" name="Round Single Corner Rectangle 134"/>
          <p:cNvSpPr/>
          <p:nvPr/>
        </p:nvSpPr>
        <p:spPr>
          <a:xfrm>
            <a:off x="5116601" y="4073160"/>
            <a:ext cx="719590" cy="444500"/>
          </a:xfrm>
          <a:prstGeom prst="round1Rect">
            <a:avLst>
              <a:gd name="adj" fmla="val 0"/>
            </a:avLst>
          </a:prstGeom>
          <a:solidFill>
            <a:srgbClr val="F86C6C"/>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bIns="108000" rtlCol="0" anchor="ctr" anchorCtr="0"/>
          <a:lstStyle/>
          <a:p>
            <a:pPr algn="ctr" defTabSz="457141" fontAlgn="auto">
              <a:spcBef>
                <a:spcPts val="0"/>
              </a:spcBef>
              <a:spcAft>
                <a:spcPts val="0"/>
              </a:spcAft>
            </a:pPr>
            <a:r>
              <a:rPr lang="en-US" sz="1200" dirty="0">
                <a:solidFill>
                  <a:srgbClr val="FFFFFF"/>
                </a:solidFill>
                <a:latin typeface="Nokia Pure Text" pitchFamily="34" charset="0"/>
                <a:cs typeface="Nokia Pure Headline"/>
              </a:rPr>
              <a:t>major fault</a:t>
            </a:r>
          </a:p>
        </p:txBody>
      </p:sp>
      <p:sp>
        <p:nvSpPr>
          <p:cNvPr id="136" name="Round Single Corner Rectangle 135"/>
          <p:cNvSpPr/>
          <p:nvPr/>
        </p:nvSpPr>
        <p:spPr>
          <a:xfrm>
            <a:off x="5878691" y="4073160"/>
            <a:ext cx="737238" cy="445947"/>
          </a:xfrm>
          <a:prstGeom prst="round1Rect">
            <a:avLst>
              <a:gd name="adj" fmla="val 0"/>
            </a:avLst>
          </a:prstGeom>
          <a:solidFill>
            <a:srgbClr val="F86C6C"/>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bIns="108000" rtlCol="0" anchor="ctr" anchorCtr="0"/>
          <a:lstStyle/>
          <a:p>
            <a:pPr algn="ctr" defTabSz="457141" fontAlgn="auto">
              <a:spcBef>
                <a:spcPts val="0"/>
              </a:spcBef>
              <a:spcAft>
                <a:spcPts val="0"/>
              </a:spcAft>
            </a:pPr>
            <a:r>
              <a:rPr lang="en-US" sz="1200" dirty="0">
                <a:solidFill>
                  <a:srgbClr val="FFFFFF"/>
                </a:solidFill>
                <a:latin typeface="Nokia Pure Text" pitchFamily="34" charset="0"/>
                <a:cs typeface="Nokia Pure Headline"/>
              </a:rPr>
              <a:t>critical fault</a:t>
            </a:r>
          </a:p>
        </p:txBody>
      </p:sp>
      <p:sp>
        <p:nvSpPr>
          <p:cNvPr id="137" name="Rechteck 226"/>
          <p:cNvSpPr/>
          <p:nvPr/>
        </p:nvSpPr>
        <p:spPr>
          <a:xfrm>
            <a:off x="6677101" y="621716"/>
            <a:ext cx="1422400" cy="412751"/>
          </a:xfrm>
          <a:prstGeom prst="rect">
            <a:avLst/>
          </a:prstGeom>
          <a:noFill/>
          <a:ln w="2857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vert="horz" wrap="none" lIns="89992" tIns="71996" rIns="89992" bIns="36000" rtlCol="0" anchor="b" anchorCtr="0"/>
          <a:lstStyle/>
          <a:p>
            <a:pPr algn="ctr">
              <a:spcAft>
                <a:spcPct val="0"/>
              </a:spcAft>
            </a:pPr>
            <a:r>
              <a:rPr lang="en-GB" sz="1400" dirty="0">
                <a:solidFill>
                  <a:srgbClr val="124191"/>
                </a:solidFill>
              </a:rPr>
              <a:t>traditional path</a:t>
            </a:r>
          </a:p>
        </p:txBody>
      </p:sp>
      <p:sp>
        <p:nvSpPr>
          <p:cNvPr id="138" name="Rechteck 226"/>
          <p:cNvSpPr/>
          <p:nvPr/>
        </p:nvSpPr>
        <p:spPr>
          <a:xfrm>
            <a:off x="3696075" y="617171"/>
            <a:ext cx="1422400" cy="412751"/>
          </a:xfrm>
          <a:prstGeom prst="rect">
            <a:avLst/>
          </a:prstGeom>
          <a:solidFill>
            <a:schemeClr val="bg1"/>
          </a:solidFill>
          <a:ln w="2857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vert="horz" wrap="none" lIns="89992" tIns="71996" rIns="89992" bIns="36000" rtlCol="0" anchor="b" anchorCtr="0"/>
          <a:lstStyle/>
          <a:p>
            <a:pPr algn="ctr">
              <a:spcAft>
                <a:spcPct val="0"/>
              </a:spcAft>
            </a:pPr>
            <a:r>
              <a:rPr lang="en-GB" sz="1400" dirty="0">
                <a:solidFill>
                  <a:srgbClr val="124191"/>
                </a:solidFill>
              </a:rPr>
              <a:t>exploratory path</a:t>
            </a:r>
          </a:p>
        </p:txBody>
      </p:sp>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BBA591CA-DD2E-44DB-A6A1-2520E908F7F5}"/>
              </a:ext>
            </a:extLst>
          </p:cNvPr>
          <p:cNvSpPr>
            <a:spLocks noGrp="1"/>
          </p:cNvSpPr>
          <p:nvPr>
            <p:ph type="title"/>
          </p:nvPr>
        </p:nvSpPr>
        <p:spPr/>
        <p:txBody>
          <a:bodyPr tIns="180000"/>
          <a:lstStyle/>
          <a:p>
            <a:r>
              <a:rPr lang="en-US" dirty="0">
                <a:solidFill>
                  <a:schemeClr val="tx1"/>
                </a:solidFill>
                <a:latin typeface="Nokia Pure Headline Light" panose="020B0304040602060303" pitchFamily="34" charset="0"/>
              </a:rPr>
              <a:t>Agenda for today</a:t>
            </a:r>
          </a:p>
        </p:txBody>
      </p:sp>
      <p:sp>
        <p:nvSpPr>
          <p:cNvPr id="2" name="Content Placeholder 1">
            <a:extLst>
              <a:ext uri="{FF2B5EF4-FFF2-40B4-BE49-F238E27FC236}">
                <a16:creationId xmlns:a16="http://schemas.microsoft.com/office/drawing/2014/main" id="{30994B88-A7AD-4C37-A81F-7ADA5DAB81FD}"/>
              </a:ext>
            </a:extLst>
          </p:cNvPr>
          <p:cNvSpPr>
            <a:spLocks noGrp="1"/>
          </p:cNvSpPr>
          <p:nvPr>
            <p:ph idx="1"/>
          </p:nvPr>
        </p:nvSpPr>
        <p:spPr/>
        <p:txBody>
          <a:bodyPr/>
          <a:lstStyle/>
          <a:p>
            <a:endParaRPr lang="fi-FI"/>
          </a:p>
        </p:txBody>
      </p:sp>
      <p:sp>
        <p:nvSpPr>
          <p:cNvPr id="5" name="TextBox 4"/>
          <p:cNvSpPr txBox="1"/>
          <p:nvPr/>
        </p:nvSpPr>
        <p:spPr>
          <a:xfrm>
            <a:off x="681059" y="1727699"/>
            <a:ext cx="4879769" cy="432000"/>
          </a:xfrm>
          <a:prstGeom prst="rect">
            <a:avLst/>
          </a:prstGeom>
          <a:gradFill>
            <a:gsLst>
              <a:gs pos="97345">
                <a:srgbClr val="FFFFFF">
                  <a:alpha val="83137"/>
                </a:srgbClr>
              </a:gs>
              <a:gs pos="0">
                <a:srgbClr val="FFFFFF">
                  <a:alpha val="0"/>
                </a:srgbClr>
              </a:gs>
              <a:gs pos="19000">
                <a:srgbClr val="FFFFFF">
                  <a:alpha val="45882"/>
                </a:srgbClr>
              </a:gs>
              <a:gs pos="54000">
                <a:srgbClr val="FFFFFF">
                  <a:alpha val="65098"/>
                </a:srgbClr>
              </a:gs>
            </a:gsLst>
            <a:lin ang="9600000" scaled="0"/>
          </a:gradFill>
        </p:spPr>
        <p:txBody>
          <a:bodyPr wrap="square" lIns="396000" rtlCol="0" anchor="ctr">
            <a:noAutofit/>
          </a:bodyPr>
          <a:lstStyle/>
          <a:p>
            <a:r>
              <a:rPr lang="en-US" sz="1600" dirty="0">
                <a:solidFill>
                  <a:schemeClr val="bg2">
                    <a:lumMod val="75000"/>
                  </a:schemeClr>
                </a:solidFill>
                <a:latin typeface="Nokia Pure Headline Light" panose="020B0304040602060303" pitchFamily="34" charset="0"/>
              </a:rPr>
              <a:t>Exploratory Testing</a:t>
            </a:r>
          </a:p>
        </p:txBody>
      </p:sp>
      <p:sp>
        <p:nvSpPr>
          <p:cNvPr id="6" name="TextBox 5"/>
          <p:cNvSpPr txBox="1"/>
          <p:nvPr/>
        </p:nvSpPr>
        <p:spPr>
          <a:xfrm>
            <a:off x="681060" y="2298909"/>
            <a:ext cx="4879769" cy="432000"/>
          </a:xfrm>
          <a:prstGeom prst="rect">
            <a:avLst/>
          </a:prstGeom>
          <a:gradFill>
            <a:gsLst>
              <a:gs pos="97345">
                <a:srgbClr val="FFFFFF">
                  <a:alpha val="83137"/>
                </a:srgbClr>
              </a:gs>
              <a:gs pos="0">
                <a:srgbClr val="FFFFFF">
                  <a:alpha val="0"/>
                </a:srgbClr>
              </a:gs>
              <a:gs pos="19000">
                <a:srgbClr val="FFFFFF">
                  <a:alpha val="45882"/>
                </a:srgbClr>
              </a:gs>
              <a:gs pos="54000">
                <a:srgbClr val="FFFFFF">
                  <a:alpha val="65098"/>
                </a:srgbClr>
              </a:gs>
            </a:gsLst>
            <a:lin ang="9600000" scaled="0"/>
          </a:gradFill>
        </p:spPr>
        <p:txBody>
          <a:bodyPr wrap="none" lIns="396000" rtlCol="0" anchor="ctr">
            <a:noAutofit/>
          </a:bodyPr>
          <a:lstStyle/>
          <a:p>
            <a:r>
              <a:rPr lang="en-US" sz="1600" dirty="0">
                <a:solidFill>
                  <a:schemeClr val="bg2">
                    <a:lumMod val="75000"/>
                  </a:schemeClr>
                </a:solidFill>
                <a:latin typeface="Nokia Pure Headline Light" panose="020B0304040602060303" pitchFamily="34" charset="0"/>
              </a:rPr>
              <a:t>Bug Hunting</a:t>
            </a:r>
          </a:p>
        </p:txBody>
      </p:sp>
      <p:sp>
        <p:nvSpPr>
          <p:cNvPr id="7" name="TextBox 6"/>
          <p:cNvSpPr txBox="1"/>
          <p:nvPr/>
        </p:nvSpPr>
        <p:spPr>
          <a:xfrm>
            <a:off x="681060" y="2870118"/>
            <a:ext cx="4879769" cy="432000"/>
          </a:xfrm>
          <a:prstGeom prst="rect">
            <a:avLst/>
          </a:prstGeom>
          <a:gradFill>
            <a:gsLst>
              <a:gs pos="97345">
                <a:srgbClr val="FFFFFF">
                  <a:alpha val="83137"/>
                </a:srgbClr>
              </a:gs>
              <a:gs pos="0">
                <a:srgbClr val="FFFFFF">
                  <a:alpha val="0"/>
                </a:srgbClr>
              </a:gs>
              <a:gs pos="19000">
                <a:srgbClr val="FFFFFF">
                  <a:alpha val="45882"/>
                </a:srgbClr>
              </a:gs>
              <a:gs pos="54000">
                <a:srgbClr val="FFFFFF">
                  <a:alpha val="65098"/>
                </a:srgbClr>
              </a:gs>
            </a:gsLst>
            <a:lin ang="9600000" scaled="0"/>
          </a:gradFill>
        </p:spPr>
        <p:txBody>
          <a:bodyPr wrap="none" lIns="396000" rtlCol="0" anchor="ctr">
            <a:noAutofit/>
          </a:bodyPr>
          <a:lstStyle/>
          <a:p>
            <a:r>
              <a:rPr lang="en-US" sz="1600" dirty="0">
                <a:solidFill>
                  <a:schemeClr val="bg2">
                    <a:lumMod val="75000"/>
                  </a:schemeClr>
                </a:solidFill>
                <a:latin typeface="Nokia Pure Headline Light" panose="020B0304040602060303" pitchFamily="34" charset="0"/>
              </a:rPr>
              <a:t>Fit to DevOps and SAFe</a:t>
            </a:r>
            <a:endParaRPr lang="en-US" sz="1600" dirty="0">
              <a:solidFill>
                <a:schemeClr val="bg2"/>
              </a:solidFill>
              <a:latin typeface="Nokia Pure Headline Light" panose="020B0304040602060303" pitchFamily="34" charset="0"/>
            </a:endParaRPr>
          </a:p>
        </p:txBody>
      </p:sp>
      <p:sp>
        <p:nvSpPr>
          <p:cNvPr id="8" name="Oval 7"/>
          <p:cNvSpPr/>
          <p:nvPr/>
        </p:nvSpPr>
        <p:spPr>
          <a:xfrm>
            <a:off x="491146" y="2289535"/>
            <a:ext cx="432000" cy="432000"/>
          </a:xfrm>
          <a:prstGeom prst="ellipse">
            <a:avLst/>
          </a:prstGeom>
          <a:solidFill>
            <a:schemeClr val="bg2"/>
          </a:solidFill>
          <a:ln w="28575">
            <a:solidFill>
              <a:schemeClr val="bg1"/>
            </a:solidFill>
          </a:ln>
        </p:spPr>
        <p:txBody>
          <a:bodyPr wrap="none" lIns="90000" rtlCol="0" anchor="ctr">
            <a:noAutofit/>
          </a:bodyPr>
          <a:lstStyle/>
          <a:p>
            <a:pPr algn="ctr"/>
            <a:r>
              <a:rPr lang="en-US" sz="2400" b="1" dirty="0">
                <a:solidFill>
                  <a:schemeClr val="bg1"/>
                </a:solidFill>
              </a:rPr>
              <a:t>2</a:t>
            </a:r>
          </a:p>
        </p:txBody>
      </p:sp>
      <p:sp>
        <p:nvSpPr>
          <p:cNvPr id="9" name="Oval 8"/>
          <p:cNvSpPr/>
          <p:nvPr/>
        </p:nvSpPr>
        <p:spPr>
          <a:xfrm>
            <a:off x="491146" y="2860808"/>
            <a:ext cx="432000" cy="432000"/>
          </a:xfrm>
          <a:prstGeom prst="ellipse">
            <a:avLst/>
          </a:prstGeom>
          <a:solidFill>
            <a:schemeClr val="bg2">
              <a:lumMod val="20000"/>
              <a:lumOff val="80000"/>
            </a:schemeClr>
          </a:solidFill>
          <a:ln w="28575">
            <a:solidFill>
              <a:schemeClr val="bg1"/>
            </a:solidFill>
          </a:ln>
        </p:spPr>
        <p:txBody>
          <a:bodyPr wrap="none" lIns="90000" rtlCol="0" anchor="ctr">
            <a:noAutofit/>
          </a:bodyPr>
          <a:lstStyle/>
          <a:p>
            <a:pPr algn="ctr"/>
            <a:r>
              <a:rPr lang="en-US" sz="2400" b="1" dirty="0">
                <a:solidFill>
                  <a:schemeClr val="bg1"/>
                </a:solidFill>
                <a:latin typeface="+mn-lt"/>
                <a:ea typeface="ヒラギノ角ゴ Pro W3"/>
                <a:cs typeface="ヒラギノ角ゴ Pro W3"/>
              </a:rPr>
              <a:t>3</a:t>
            </a:r>
          </a:p>
        </p:txBody>
      </p:sp>
      <p:sp>
        <p:nvSpPr>
          <p:cNvPr id="10" name="Oval 9"/>
          <p:cNvSpPr/>
          <p:nvPr/>
        </p:nvSpPr>
        <p:spPr>
          <a:xfrm>
            <a:off x="491146" y="1718262"/>
            <a:ext cx="432000" cy="432000"/>
          </a:xfrm>
          <a:prstGeom prst="ellipse">
            <a:avLst/>
          </a:prstGeom>
          <a:solidFill>
            <a:schemeClr val="bg2">
              <a:lumMod val="20000"/>
              <a:lumOff val="80000"/>
            </a:schemeClr>
          </a:solidFill>
          <a:ln w="28575">
            <a:solidFill>
              <a:schemeClr val="bg1"/>
            </a:solidFill>
          </a:ln>
        </p:spPr>
        <p:txBody>
          <a:bodyPr wrap="none" lIns="90000" rtlCol="0" anchor="ctr">
            <a:noAutofit/>
          </a:bodyPr>
          <a:lstStyle/>
          <a:p>
            <a:pPr algn="ctr"/>
            <a:r>
              <a:rPr lang="en-US" sz="2400" b="1">
                <a:solidFill>
                  <a:schemeClr val="bg1"/>
                </a:solidFill>
              </a:rPr>
              <a:t>1</a:t>
            </a:r>
            <a:endParaRPr lang="en-US" sz="2400" b="1" dirty="0">
              <a:solidFill>
                <a:schemeClr val="bg1"/>
              </a:solidFill>
            </a:endParaRPr>
          </a:p>
        </p:txBody>
      </p:sp>
      <p:sp>
        <p:nvSpPr>
          <p:cNvPr id="11" name="TextBox 10"/>
          <p:cNvSpPr txBox="1"/>
          <p:nvPr/>
        </p:nvSpPr>
        <p:spPr>
          <a:xfrm>
            <a:off x="682820" y="3432017"/>
            <a:ext cx="4879769" cy="432000"/>
          </a:xfrm>
          <a:prstGeom prst="rect">
            <a:avLst/>
          </a:prstGeom>
          <a:gradFill>
            <a:gsLst>
              <a:gs pos="97345">
                <a:srgbClr val="FFFFFF">
                  <a:alpha val="83137"/>
                </a:srgbClr>
              </a:gs>
              <a:gs pos="0">
                <a:srgbClr val="FFFFFF">
                  <a:alpha val="0"/>
                </a:srgbClr>
              </a:gs>
              <a:gs pos="19000">
                <a:srgbClr val="FFFFFF">
                  <a:alpha val="45882"/>
                </a:srgbClr>
              </a:gs>
              <a:gs pos="54000">
                <a:srgbClr val="FFFFFF">
                  <a:alpha val="65098"/>
                </a:srgbClr>
              </a:gs>
            </a:gsLst>
            <a:lin ang="9600000" scaled="0"/>
          </a:gradFill>
        </p:spPr>
        <p:txBody>
          <a:bodyPr wrap="none" lIns="396000" rtlCol="0" anchor="ctr">
            <a:noAutofit/>
          </a:bodyPr>
          <a:lstStyle>
            <a:defPPr>
              <a:defRPr lang="en-US"/>
            </a:defPPr>
            <a:lvl1pPr>
              <a:defRPr sz="1600">
                <a:solidFill>
                  <a:schemeClr val="bg2">
                    <a:lumMod val="75000"/>
                  </a:schemeClr>
                </a:solidFill>
                <a:latin typeface="Nokia Pure Headline Light" panose="020B0304040602060303" pitchFamily="34" charset="0"/>
              </a:defRPr>
            </a:lvl1pPr>
          </a:lstStyle>
          <a:p>
            <a:r>
              <a:rPr lang="en-US" dirty="0"/>
              <a:t>Summary</a:t>
            </a:r>
          </a:p>
        </p:txBody>
      </p:sp>
      <p:sp>
        <p:nvSpPr>
          <p:cNvPr id="12" name="Oval 11"/>
          <p:cNvSpPr/>
          <p:nvPr/>
        </p:nvSpPr>
        <p:spPr>
          <a:xfrm>
            <a:off x="492906" y="3422707"/>
            <a:ext cx="432000" cy="432000"/>
          </a:xfrm>
          <a:prstGeom prst="ellipse">
            <a:avLst/>
          </a:prstGeom>
          <a:solidFill>
            <a:schemeClr val="bg2">
              <a:lumMod val="20000"/>
              <a:lumOff val="80000"/>
            </a:schemeClr>
          </a:solidFill>
          <a:ln w="28575">
            <a:solidFill>
              <a:schemeClr val="bg1"/>
            </a:solidFill>
          </a:ln>
        </p:spPr>
        <p:txBody>
          <a:bodyPr wrap="none" lIns="90000" rtlCol="0" anchor="ctr">
            <a:noAutofit/>
          </a:bodyPr>
          <a:lstStyle/>
          <a:p>
            <a:pPr algn="ctr"/>
            <a:r>
              <a:rPr lang="en-US" sz="2400" b="1" dirty="0">
                <a:solidFill>
                  <a:schemeClr val="bg1"/>
                </a:solidFill>
                <a:latin typeface="+mn-lt"/>
              </a:rPr>
              <a:t>4</a:t>
            </a:r>
          </a:p>
        </p:txBody>
      </p:sp>
    </p:spTree>
    <p:extLst>
      <p:ext uri="{BB962C8B-B14F-4D97-AF65-F5344CB8AC3E}">
        <p14:creationId xmlns:p14="http://schemas.microsoft.com/office/powerpoint/2010/main" val="33547007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417513" y="1212112"/>
            <a:ext cx="8229600" cy="3183676"/>
          </a:xfrm>
          <a:solidFill>
            <a:schemeClr val="bg2"/>
          </a:solidFill>
        </p:spPr>
        <p:txBody>
          <a:bodyPr lIns="180000" tIns="0" rIns="180000" anchor="ctr"/>
          <a:lstStyle/>
          <a:p>
            <a:pPr>
              <a:spcAft>
                <a:spcPts val="1800"/>
              </a:spcAft>
            </a:pPr>
            <a:r>
              <a:rPr lang="en-US" sz="1800" dirty="0">
                <a:solidFill>
                  <a:schemeClr val="bg1"/>
                </a:solidFill>
              </a:rPr>
              <a:t>When a new release of software is ready for test, a Bug Hunt will very clearly read the temperature ~ quality of the software. </a:t>
            </a:r>
          </a:p>
          <a:p>
            <a:pPr>
              <a:spcAft>
                <a:spcPts val="1800"/>
              </a:spcAft>
            </a:pPr>
            <a:r>
              <a:rPr lang="en-US" sz="1800" dirty="0">
                <a:solidFill>
                  <a:schemeClr val="bg1"/>
                </a:solidFill>
              </a:rPr>
              <a:t>As an entry-criteria for new phases. View it as a ”smoke test” executed by people, instead of automated test</a:t>
            </a:r>
          </a:p>
          <a:p>
            <a:pPr>
              <a:spcAft>
                <a:spcPts val="1800"/>
              </a:spcAft>
            </a:pPr>
            <a:r>
              <a:rPr lang="en-US" sz="1800" dirty="0">
                <a:solidFill>
                  <a:schemeClr val="bg1"/>
                </a:solidFill>
              </a:rPr>
              <a:t>As team-motivation, when test execution becomes day to day work, and the auto-pilot is taking over, a Bug Hunt can be what you need to add extra adrenalin to your test.</a:t>
            </a:r>
            <a:endParaRPr lang="en-US" sz="1800" dirty="0">
              <a:solidFill>
                <a:srgbClr val="FF0000"/>
              </a:solidFill>
            </a:endParaRPr>
          </a:p>
        </p:txBody>
      </p:sp>
      <p:sp>
        <p:nvSpPr>
          <p:cNvPr id="6" name="Title 5"/>
          <p:cNvSpPr>
            <a:spLocks noGrp="1"/>
          </p:cNvSpPr>
          <p:nvPr>
            <p:ph type="title"/>
          </p:nvPr>
        </p:nvSpPr>
        <p:spPr/>
        <p:txBody>
          <a:bodyPr/>
          <a:lstStyle/>
          <a:p>
            <a:r>
              <a:rPr lang="en-US" dirty="0"/>
              <a:t>Bug Hunting</a:t>
            </a:r>
          </a:p>
        </p:txBody>
      </p:sp>
      <p:sp>
        <p:nvSpPr>
          <p:cNvPr id="8" name="Content Placeholder 7"/>
          <p:cNvSpPr>
            <a:spLocks noGrp="1"/>
          </p:cNvSpPr>
          <p:nvPr>
            <p:ph sz="quarter" idx="13"/>
          </p:nvPr>
        </p:nvSpPr>
        <p:spPr>
          <a:xfrm>
            <a:off x="418121" y="537790"/>
            <a:ext cx="6599368" cy="301625"/>
          </a:xfrm>
        </p:spPr>
        <p:txBody>
          <a:bodyPr/>
          <a:lstStyle/>
          <a:p>
            <a:r>
              <a:rPr lang="en-US" dirty="0"/>
              <a:t>When can you apply Bug Hunting - Based on “Go on Bug Hunt” – from Klaus Olsen, </a:t>
            </a:r>
            <a:r>
              <a:rPr lang="en-US" dirty="0" err="1"/>
              <a:t>FiSTB</a:t>
            </a:r>
            <a:r>
              <a:rPr lang="en-US" dirty="0"/>
              <a:t> Testing Assembly, 2013</a:t>
            </a:r>
          </a:p>
          <a:p>
            <a:endParaRPr lang="en-US" dirty="0"/>
          </a:p>
          <a:p>
            <a:endParaRPr lang="en-US" dirty="0"/>
          </a:p>
        </p:txBody>
      </p:sp>
    </p:spTree>
    <p:extLst>
      <p:ext uri="{BB962C8B-B14F-4D97-AF65-F5344CB8AC3E}">
        <p14:creationId xmlns:p14="http://schemas.microsoft.com/office/powerpoint/2010/main" val="10446946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http://4.bp.blogspot.com/-6QcayEysiL4/UK98d7y6aJI/AAAAAAAAC_k/5mxD4Dpt-Pk/s1600/suklaa.jpg"/>
          <p:cNvPicPr>
            <a:picLocks noChangeAspect="1" noChangeArrowheads="1"/>
          </p:cNvPicPr>
          <p:nvPr/>
        </p:nvPicPr>
        <p:blipFill>
          <a:blip r:embed="rId2"/>
          <a:srcRect/>
          <a:stretch>
            <a:fillRect/>
          </a:stretch>
        </p:blipFill>
        <p:spPr bwMode="auto">
          <a:xfrm>
            <a:off x="4930140" y="3547842"/>
            <a:ext cx="1952463" cy="1344832"/>
          </a:xfrm>
          <a:prstGeom prst="rect">
            <a:avLst/>
          </a:prstGeom>
          <a:noFill/>
          <a:effectLst>
            <a:outerShdw blurRad="50800" dist="50800" dir="5400000" sx="59000" sy="59000" algn="ctr" rotWithShape="0">
              <a:srgbClr val="000000">
                <a:alpha val="62000"/>
              </a:srgbClr>
            </a:outerShdw>
          </a:effectLst>
        </p:spPr>
      </p:pic>
      <p:sp>
        <p:nvSpPr>
          <p:cNvPr id="7" name="Content Placeholder 6"/>
          <p:cNvSpPr>
            <a:spLocks noGrp="1"/>
          </p:cNvSpPr>
          <p:nvPr>
            <p:ph idx="1"/>
          </p:nvPr>
        </p:nvSpPr>
        <p:spPr>
          <a:xfrm>
            <a:off x="4348163" y="972922"/>
            <a:ext cx="4567237" cy="3878479"/>
          </a:xfrm>
        </p:spPr>
        <p:txBody>
          <a:bodyPr/>
          <a:lstStyle/>
          <a:p>
            <a:pPr lvl="0">
              <a:defRPr/>
            </a:pPr>
            <a:r>
              <a:rPr lang="en-US" sz="1800" dirty="0"/>
              <a:t>4 dissimilar test systems</a:t>
            </a:r>
          </a:p>
          <a:p>
            <a:r>
              <a:rPr lang="en-US" sz="1800" dirty="0"/>
              <a:t>4x test teams (pair or small group)</a:t>
            </a:r>
          </a:p>
          <a:p>
            <a:pPr lvl="0">
              <a:defRPr/>
            </a:pPr>
            <a:r>
              <a:rPr lang="en-US" sz="1800" dirty="0"/>
              <a:t>4 x 45 minutes testing rounds</a:t>
            </a:r>
          </a:p>
          <a:p>
            <a:r>
              <a:rPr lang="en-US" sz="1800" dirty="0"/>
              <a:t>Scope of Hunting</a:t>
            </a:r>
          </a:p>
          <a:p>
            <a:r>
              <a:rPr lang="en-US" sz="1800" dirty="0"/>
              <a:t>Exploratory Testing applied</a:t>
            </a:r>
          </a:p>
          <a:p>
            <a:r>
              <a:rPr lang="en-US" sz="1800" dirty="0"/>
              <a:t>Chat tool </a:t>
            </a:r>
          </a:p>
          <a:p>
            <a:r>
              <a:rPr lang="en-US" sz="1800" dirty="0"/>
              <a:t>Referee, Coach</a:t>
            </a:r>
          </a:p>
          <a:p>
            <a:r>
              <a:rPr lang="en-US" sz="1800" dirty="0"/>
              <a:t>Prize</a:t>
            </a:r>
          </a:p>
        </p:txBody>
      </p:sp>
      <p:sp>
        <p:nvSpPr>
          <p:cNvPr id="6" name="Title 5"/>
          <p:cNvSpPr>
            <a:spLocks noGrp="1"/>
          </p:cNvSpPr>
          <p:nvPr>
            <p:ph type="title"/>
          </p:nvPr>
        </p:nvSpPr>
        <p:spPr/>
        <p:txBody>
          <a:bodyPr/>
          <a:lstStyle/>
          <a:p>
            <a:r>
              <a:rPr lang="en-US" dirty="0"/>
              <a:t>Bug Hunting</a:t>
            </a:r>
          </a:p>
        </p:txBody>
      </p:sp>
      <p:sp>
        <p:nvSpPr>
          <p:cNvPr id="8" name="Content Placeholder 7"/>
          <p:cNvSpPr>
            <a:spLocks noGrp="1"/>
          </p:cNvSpPr>
          <p:nvPr>
            <p:ph sz="quarter" idx="13"/>
          </p:nvPr>
        </p:nvSpPr>
        <p:spPr/>
        <p:txBody>
          <a:bodyPr/>
          <a:lstStyle/>
          <a:p>
            <a:r>
              <a:rPr lang="en-US" dirty="0"/>
              <a:t>The simple ingredients you need </a:t>
            </a:r>
          </a:p>
        </p:txBody>
      </p:sp>
      <p:graphicFrame>
        <p:nvGraphicFramePr>
          <p:cNvPr id="10" name="Diagram 9"/>
          <p:cNvGraphicFramePr/>
          <p:nvPr>
            <p:extLst>
              <p:ext uri="{D42A27DB-BD31-4B8C-83A1-F6EECF244321}">
                <p14:modId xmlns:p14="http://schemas.microsoft.com/office/powerpoint/2010/main" val="2777506169"/>
              </p:ext>
            </p:extLst>
          </p:nvPr>
        </p:nvGraphicFramePr>
        <p:xfrm>
          <a:off x="412749" y="972922"/>
          <a:ext cx="3465567" cy="3622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Content Placeholder 6"/>
          <p:cNvSpPr txBox="1">
            <a:spLocks/>
          </p:cNvSpPr>
          <p:nvPr/>
        </p:nvSpPr>
        <p:spPr bwMode="auto">
          <a:xfrm>
            <a:off x="412750" y="973137"/>
            <a:ext cx="3734968" cy="26590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30188" marR="0" lvl="0" indent="-230188" algn="l" defTabSz="457200" rtl="0" eaLnBrk="1" fontAlgn="base" latinLnBrk="0" hangingPunct="1">
              <a:lnSpc>
                <a:spcPct val="100000"/>
              </a:lnSpc>
              <a:spcBef>
                <a:spcPct val="0"/>
              </a:spcBef>
              <a:spcAft>
                <a:spcPts val="600"/>
              </a:spcAft>
              <a:buClrTx/>
              <a:buSzTx/>
              <a:buFont typeface="Arial" charset="0"/>
              <a:buChar char="•"/>
              <a:tabLst/>
              <a:defRPr/>
            </a:pPr>
            <a:endParaRPr kumimoji="0" lang="en-US" sz="2000" b="0" i="0" u="none" strike="noStrike" kern="1200" cap="none" spc="0" normalizeH="0" baseline="0" noProof="0" dirty="0">
              <a:ln>
                <a:noFill/>
              </a:ln>
              <a:solidFill>
                <a:schemeClr val="bg2"/>
              </a:solidFill>
              <a:effectLst/>
              <a:uLnTx/>
              <a:uFillTx/>
              <a:latin typeface="+mn-lt"/>
              <a:ea typeface="ヒラギノ角ゴ Pro W3" charset="0"/>
              <a:cs typeface="ヒラギノ角ゴ Pro W3" charset="0"/>
            </a:endParaRPr>
          </a:p>
        </p:txBody>
      </p:sp>
      <p:pic>
        <p:nvPicPr>
          <p:cNvPr id="12" name="Picture 5"/>
          <p:cNvPicPr>
            <a:picLocks noChangeAspect="1" noChangeArrowheads="1"/>
          </p:cNvPicPr>
          <p:nvPr/>
        </p:nvPicPr>
        <p:blipFill>
          <a:blip r:embed="rId8"/>
          <a:srcRect/>
          <a:stretch>
            <a:fillRect/>
          </a:stretch>
        </p:blipFill>
        <p:spPr bwMode="auto">
          <a:xfrm>
            <a:off x="6426732" y="2801324"/>
            <a:ext cx="2256147" cy="1693523"/>
          </a:xfrm>
          <a:prstGeom prst="rect">
            <a:avLst/>
          </a:prstGeom>
          <a:noFill/>
          <a:ln w="9525">
            <a:noFill/>
            <a:miter lim="800000"/>
            <a:headEnd/>
            <a:tailEnd/>
          </a:ln>
          <a:effectLst>
            <a:outerShdw blurRad="50800" dist="38100" dir="2700000" sx="102000" sy="102000" algn="tl" rotWithShape="0">
              <a:prstClr val="black">
                <a:alpha val="29000"/>
              </a:prstClr>
            </a:outerShdw>
          </a:effectLst>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ug Hunting</a:t>
            </a:r>
          </a:p>
        </p:txBody>
      </p:sp>
      <p:sp>
        <p:nvSpPr>
          <p:cNvPr id="8" name="Content Placeholder 7"/>
          <p:cNvSpPr>
            <a:spLocks noGrp="1"/>
          </p:cNvSpPr>
          <p:nvPr>
            <p:ph sz="quarter" idx="13"/>
          </p:nvPr>
        </p:nvSpPr>
        <p:spPr/>
        <p:txBody>
          <a:bodyPr/>
          <a:lstStyle/>
          <a:p>
            <a:r>
              <a:rPr lang="en-US" dirty="0"/>
              <a:t>Your step-by-step guide</a:t>
            </a:r>
          </a:p>
        </p:txBody>
      </p:sp>
      <p:sp>
        <p:nvSpPr>
          <p:cNvPr id="12" name="Rectangle 3"/>
          <p:cNvSpPr/>
          <p:nvPr/>
        </p:nvSpPr>
        <p:spPr>
          <a:xfrm>
            <a:off x="422235" y="983638"/>
            <a:ext cx="2714370" cy="1702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lstStyle/>
          <a:p>
            <a:pPr defTabSz="633665">
              <a:spcAft>
                <a:spcPct val="35000"/>
              </a:spcAft>
            </a:pPr>
            <a:r>
              <a:rPr lang="en-US" sz="1600" b="1" dirty="0">
                <a:solidFill>
                  <a:srgbClr val="FFFFFF"/>
                </a:solidFill>
                <a:ea typeface="ヒラギノ角ゴ Pro W3"/>
                <a:cs typeface="ヒラギノ角ゴ Pro W3"/>
              </a:rPr>
              <a:t>1) Define</a:t>
            </a:r>
          </a:p>
          <a:p>
            <a:pPr defTabSz="633665">
              <a:spcAft>
                <a:spcPct val="35000"/>
              </a:spcAft>
            </a:pPr>
            <a:r>
              <a:rPr lang="en-US" sz="1600" dirty="0">
                <a:solidFill>
                  <a:srgbClr val="FFFFFF"/>
                </a:solidFill>
                <a:ea typeface="ヒラギノ角ゴ Pro W3"/>
                <a:cs typeface="ヒラギノ角ゴ Pro W3"/>
              </a:rPr>
              <a:t>Pre-conditions for bug hunting: scope, environments, duration, </a:t>
            </a:r>
            <a:r>
              <a:rPr lang="en-US" sz="1600" dirty="0">
                <a:solidFill>
                  <a:srgbClr val="FFFFFF"/>
                </a:solidFill>
              </a:rPr>
              <a:t>boundaries, </a:t>
            </a:r>
            <a:r>
              <a:rPr lang="en-US" sz="1600" dirty="0">
                <a:solidFill>
                  <a:srgbClr val="FFFFFF"/>
                </a:solidFill>
                <a:ea typeface="ヒラギノ角ゴ Pro W3"/>
                <a:cs typeface="ヒラギノ角ゴ Pro W3"/>
              </a:rPr>
              <a:t>known issues</a:t>
            </a:r>
            <a:endParaRPr lang="en-US" sz="1600" dirty="0">
              <a:solidFill>
                <a:srgbClr val="FFFFFF"/>
              </a:solidFill>
              <a:latin typeface="Nokia Pure Text Light"/>
              <a:ea typeface="ヒラギノ角ゴ Pro W3"/>
              <a:cs typeface="ヒラギノ角ゴ Pro W3"/>
            </a:endParaRPr>
          </a:p>
        </p:txBody>
      </p:sp>
      <p:sp>
        <p:nvSpPr>
          <p:cNvPr id="13" name="Rectangle 4"/>
          <p:cNvSpPr/>
          <p:nvPr/>
        </p:nvSpPr>
        <p:spPr>
          <a:xfrm>
            <a:off x="3253563" y="983638"/>
            <a:ext cx="2564125" cy="1702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lstStyle/>
          <a:p>
            <a:pPr defTabSz="633665">
              <a:spcAft>
                <a:spcPct val="35000"/>
              </a:spcAft>
            </a:pPr>
            <a:r>
              <a:rPr lang="en-US" sz="1600" b="1" dirty="0">
                <a:solidFill>
                  <a:srgbClr val="68717A"/>
                </a:solidFill>
              </a:rPr>
              <a:t>2) Go for Hunting</a:t>
            </a:r>
          </a:p>
          <a:p>
            <a:pPr defTabSz="633665">
              <a:spcAft>
                <a:spcPct val="35000"/>
              </a:spcAft>
            </a:pPr>
            <a:r>
              <a:rPr lang="en-US" sz="1600" dirty="0">
                <a:solidFill>
                  <a:srgbClr val="68717A"/>
                </a:solidFill>
              </a:rPr>
              <a:t>Use all the possible methods and scenarios. Do fault attacks, error guessing, pair working, parallel testing..</a:t>
            </a:r>
            <a:endParaRPr lang="en-US" sz="1600" dirty="0">
              <a:solidFill>
                <a:srgbClr val="68717A"/>
              </a:solidFill>
              <a:latin typeface="Nokia Pure Text Light"/>
            </a:endParaRPr>
          </a:p>
        </p:txBody>
      </p:sp>
      <p:sp>
        <p:nvSpPr>
          <p:cNvPr id="14" name="Rectangle 5"/>
          <p:cNvSpPr/>
          <p:nvPr/>
        </p:nvSpPr>
        <p:spPr>
          <a:xfrm>
            <a:off x="422235" y="2809819"/>
            <a:ext cx="2714370" cy="1702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lstStyle/>
          <a:p>
            <a:pPr defTabSz="633665">
              <a:spcAft>
                <a:spcPct val="35000"/>
              </a:spcAft>
            </a:pPr>
            <a:r>
              <a:rPr lang="en-US" sz="1600" b="1" dirty="0">
                <a:solidFill>
                  <a:srgbClr val="FFFFFF"/>
                </a:solidFill>
              </a:rPr>
              <a:t>4) Judge</a:t>
            </a:r>
          </a:p>
          <a:p>
            <a:pPr defTabSz="633665">
              <a:spcAft>
                <a:spcPct val="35000"/>
              </a:spcAft>
            </a:pPr>
            <a:r>
              <a:rPr lang="en-US" sz="1600" dirty="0">
                <a:solidFill>
                  <a:srgbClr val="FFFFFF"/>
                </a:solidFill>
              </a:rPr>
              <a:t>Referee makes notes of all issues and informs if issue is duplicate. </a:t>
            </a:r>
            <a:br>
              <a:rPr lang="en-US" sz="1600" dirty="0">
                <a:solidFill>
                  <a:srgbClr val="FFFFFF"/>
                </a:solidFill>
              </a:rPr>
            </a:br>
            <a:r>
              <a:rPr lang="en-US" sz="1600" dirty="0">
                <a:solidFill>
                  <a:srgbClr val="FFFFFF"/>
                </a:solidFill>
              </a:rPr>
              <a:t>Announce winner/award prize</a:t>
            </a:r>
          </a:p>
        </p:txBody>
      </p:sp>
      <p:sp>
        <p:nvSpPr>
          <p:cNvPr id="15" name="Rectangle 6"/>
          <p:cNvSpPr/>
          <p:nvPr/>
        </p:nvSpPr>
        <p:spPr>
          <a:xfrm>
            <a:off x="3253563" y="2809819"/>
            <a:ext cx="2564125" cy="1702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lstStyle/>
          <a:p>
            <a:pPr defTabSz="633665">
              <a:spcAft>
                <a:spcPct val="35000"/>
              </a:spcAft>
            </a:pPr>
            <a:r>
              <a:rPr lang="en-US" sz="1600" b="1" dirty="0">
                <a:solidFill>
                  <a:srgbClr val="124191"/>
                </a:solidFill>
              </a:rPr>
              <a:t>5) Analyze</a:t>
            </a:r>
          </a:p>
          <a:p>
            <a:pPr defTabSz="633665">
              <a:spcAft>
                <a:spcPct val="35000"/>
              </a:spcAft>
            </a:pPr>
            <a:r>
              <a:rPr lang="en-US" sz="1600" dirty="0">
                <a:solidFill>
                  <a:srgbClr val="124191"/>
                </a:solidFill>
              </a:rPr>
              <a:t>Categorize issues. Investigate more for unclear issues</a:t>
            </a:r>
          </a:p>
        </p:txBody>
      </p:sp>
      <p:sp>
        <p:nvSpPr>
          <p:cNvPr id="16" name="Rectangle 3"/>
          <p:cNvSpPr/>
          <p:nvPr/>
        </p:nvSpPr>
        <p:spPr>
          <a:xfrm>
            <a:off x="5934645" y="983638"/>
            <a:ext cx="2711123" cy="1702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lstStyle/>
          <a:p>
            <a:pPr defTabSz="633665">
              <a:spcAft>
                <a:spcPct val="35000"/>
              </a:spcAft>
            </a:pPr>
            <a:r>
              <a:rPr lang="en-US" sz="1600" b="1" dirty="0">
                <a:solidFill>
                  <a:srgbClr val="FFFFFF"/>
                </a:solidFill>
                <a:ea typeface="ヒラギノ角ゴ Pro W3"/>
                <a:cs typeface="ヒラギノ角ゴ Pro W3"/>
              </a:rPr>
              <a:t>3) Inform</a:t>
            </a:r>
          </a:p>
          <a:p>
            <a:pPr defTabSz="633665">
              <a:spcAft>
                <a:spcPct val="35000"/>
              </a:spcAft>
            </a:pPr>
            <a:r>
              <a:rPr lang="en-US" sz="1600" dirty="0">
                <a:solidFill>
                  <a:srgbClr val="FFFFFF"/>
                </a:solidFill>
                <a:ea typeface="ヒラギノ角ゴ Pro W3"/>
                <a:cs typeface="ヒラギノ角ゴ Pro W3"/>
              </a:rPr>
              <a:t>Briefly report all findings to </a:t>
            </a:r>
            <a:r>
              <a:rPr lang="en-US" sz="1600" dirty="0">
                <a:solidFill>
                  <a:srgbClr val="FFFFFF"/>
                </a:solidFill>
              </a:rPr>
              <a:t>referee. Do not pause hunting for fault investigation</a:t>
            </a:r>
          </a:p>
        </p:txBody>
      </p:sp>
      <p:sp>
        <p:nvSpPr>
          <p:cNvPr id="17" name="Rectangle 5"/>
          <p:cNvSpPr/>
          <p:nvPr/>
        </p:nvSpPr>
        <p:spPr>
          <a:xfrm>
            <a:off x="5934646" y="2809819"/>
            <a:ext cx="2711123" cy="1702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lstStyle/>
          <a:p>
            <a:pPr defTabSz="633665">
              <a:spcAft>
                <a:spcPct val="35000"/>
              </a:spcAft>
            </a:pPr>
            <a:r>
              <a:rPr lang="en-US" sz="1600" b="1" dirty="0">
                <a:solidFill>
                  <a:srgbClr val="FFFFFF"/>
                </a:solidFill>
              </a:rPr>
              <a:t>6) Report</a:t>
            </a:r>
          </a:p>
          <a:p>
            <a:pPr defTabSz="633665">
              <a:spcAft>
                <a:spcPct val="35000"/>
              </a:spcAft>
            </a:pPr>
            <a:r>
              <a:rPr lang="en-US" sz="1600" dirty="0">
                <a:solidFill>
                  <a:srgbClr val="FFFFFF"/>
                </a:solidFill>
              </a:rPr>
              <a:t>All clear faults reported</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D2179913-7E89-42AD-8B46-DBB77FAA8039}"/>
              </a:ext>
            </a:extLst>
          </p:cNvPr>
          <p:cNvSpPr>
            <a:spLocks noGrp="1"/>
          </p:cNvSpPr>
          <p:nvPr>
            <p:ph idx="1"/>
          </p:nvPr>
        </p:nvSpPr>
        <p:spPr/>
        <p:txBody>
          <a:bodyPr lIns="0"/>
          <a:lstStyle/>
          <a:p>
            <a:r>
              <a:rPr lang="en-US" sz="2000" dirty="0"/>
              <a:t>2 days workshop to educate software robustness</a:t>
            </a:r>
          </a:p>
          <a:p>
            <a:pPr lvl="1"/>
            <a:r>
              <a:rPr lang="en-US" sz="1600" dirty="0"/>
              <a:t>Building in robustness at every phase of the life cycle</a:t>
            </a:r>
          </a:p>
          <a:p>
            <a:pPr lvl="1"/>
            <a:r>
              <a:rPr lang="en-US" sz="1600" dirty="0"/>
              <a:t>Testing for software robustness from unit test through to solution level test</a:t>
            </a:r>
          </a:p>
          <a:p>
            <a:r>
              <a:rPr lang="en-US" sz="2000" dirty="0"/>
              <a:t>Run a 2x45 minute bug hunting session to apply the learnings from the workshop</a:t>
            </a:r>
          </a:p>
          <a:p>
            <a:pPr marL="0" indent="0">
              <a:buNone/>
            </a:pPr>
            <a:endParaRPr lang="en-US" sz="2000" dirty="0"/>
          </a:p>
        </p:txBody>
      </p:sp>
      <p:sp>
        <p:nvSpPr>
          <p:cNvPr id="3" name="Title 2"/>
          <p:cNvSpPr>
            <a:spLocks noGrp="1"/>
          </p:cNvSpPr>
          <p:nvPr>
            <p:ph type="title"/>
          </p:nvPr>
        </p:nvSpPr>
        <p:spPr/>
        <p:txBody>
          <a:bodyPr/>
          <a:lstStyle/>
          <a:p>
            <a:r>
              <a:rPr lang="en-IE" dirty="0">
                <a:solidFill>
                  <a:schemeClr val="tx1"/>
                </a:solidFill>
              </a:rPr>
              <a:t>Bug Hunting </a:t>
            </a:r>
          </a:p>
        </p:txBody>
      </p:sp>
      <p:sp>
        <p:nvSpPr>
          <p:cNvPr id="9" name="Content Placeholder 8">
            <a:extLst>
              <a:ext uri="{FF2B5EF4-FFF2-40B4-BE49-F238E27FC236}">
                <a16:creationId xmlns:a16="http://schemas.microsoft.com/office/drawing/2014/main" id="{8EAE78BD-FAB8-4C6C-AB08-9C08115D34E0}"/>
              </a:ext>
            </a:extLst>
          </p:cNvPr>
          <p:cNvSpPr>
            <a:spLocks noGrp="1"/>
          </p:cNvSpPr>
          <p:nvPr>
            <p:ph sz="quarter" idx="13"/>
          </p:nvPr>
        </p:nvSpPr>
        <p:spPr/>
        <p:txBody>
          <a:bodyPr/>
          <a:lstStyle/>
          <a:p>
            <a:r>
              <a:rPr lang="en-US" dirty="0"/>
              <a:t>You can use Bug hunting session as the practice part after a coaching/workshop</a:t>
            </a:r>
          </a:p>
        </p:txBody>
      </p:sp>
      <p:graphicFrame>
        <p:nvGraphicFramePr>
          <p:cNvPr id="6" name="Table 5">
            <a:extLst>
              <a:ext uri="{FF2B5EF4-FFF2-40B4-BE49-F238E27FC236}">
                <a16:creationId xmlns:a16="http://schemas.microsoft.com/office/drawing/2014/main" id="{ABDEC5FB-7625-42EE-8DE5-78FF09128447}"/>
              </a:ext>
            </a:extLst>
          </p:cNvPr>
          <p:cNvGraphicFramePr>
            <a:graphicFrameLocks noGrp="1"/>
          </p:cNvGraphicFramePr>
          <p:nvPr>
            <p:extLst>
              <p:ext uri="{D42A27DB-BD31-4B8C-83A1-F6EECF244321}">
                <p14:modId xmlns:p14="http://schemas.microsoft.com/office/powerpoint/2010/main" val="2929104334"/>
              </p:ext>
            </p:extLst>
          </p:nvPr>
        </p:nvGraphicFramePr>
        <p:xfrm>
          <a:off x="417513" y="3453550"/>
          <a:ext cx="8228256" cy="942238"/>
        </p:xfrm>
        <a:graphic>
          <a:graphicData uri="http://schemas.openxmlformats.org/drawingml/2006/table">
            <a:tbl>
              <a:tblPr firstRow="1" firstCol="1" bandRow="1">
                <a:tableStyleId>{073A0DAA-6AF3-43AB-8588-CEC1D06C72B9}</a:tableStyleId>
              </a:tblPr>
              <a:tblGrid>
                <a:gridCol w="1331277">
                  <a:extLst>
                    <a:ext uri="{9D8B030D-6E8A-4147-A177-3AD203B41FA5}">
                      <a16:colId xmlns:a16="http://schemas.microsoft.com/office/drawing/2014/main" val="2281518561"/>
                    </a:ext>
                  </a:extLst>
                </a:gridCol>
                <a:gridCol w="1543050">
                  <a:extLst>
                    <a:ext uri="{9D8B030D-6E8A-4147-A177-3AD203B41FA5}">
                      <a16:colId xmlns:a16="http://schemas.microsoft.com/office/drawing/2014/main" val="2121130090"/>
                    </a:ext>
                  </a:extLst>
                </a:gridCol>
                <a:gridCol w="1668780">
                  <a:extLst>
                    <a:ext uri="{9D8B030D-6E8A-4147-A177-3AD203B41FA5}">
                      <a16:colId xmlns:a16="http://schemas.microsoft.com/office/drawing/2014/main" val="2036019238"/>
                    </a:ext>
                  </a:extLst>
                </a:gridCol>
                <a:gridCol w="1074420">
                  <a:extLst>
                    <a:ext uri="{9D8B030D-6E8A-4147-A177-3AD203B41FA5}">
                      <a16:colId xmlns:a16="http://schemas.microsoft.com/office/drawing/2014/main" val="2222199213"/>
                    </a:ext>
                  </a:extLst>
                </a:gridCol>
                <a:gridCol w="1239353">
                  <a:extLst>
                    <a:ext uri="{9D8B030D-6E8A-4147-A177-3AD203B41FA5}">
                      <a16:colId xmlns:a16="http://schemas.microsoft.com/office/drawing/2014/main" val="2565707040"/>
                    </a:ext>
                  </a:extLst>
                </a:gridCol>
                <a:gridCol w="1371376">
                  <a:extLst>
                    <a:ext uri="{9D8B030D-6E8A-4147-A177-3AD203B41FA5}">
                      <a16:colId xmlns:a16="http://schemas.microsoft.com/office/drawing/2014/main" val="1340079161"/>
                    </a:ext>
                  </a:extLst>
                </a:gridCol>
              </a:tblGrid>
              <a:tr h="471119">
                <a:tc>
                  <a:txBody>
                    <a:bodyPr/>
                    <a:lstStyle/>
                    <a:p>
                      <a:endParaRPr lang="en-IE" sz="2000" dirty="0">
                        <a:effectLst/>
                        <a:latin typeface="+mn-lt"/>
                      </a:endParaRPr>
                    </a:p>
                  </a:txBody>
                  <a:tcPr/>
                </a:tc>
                <a:tc>
                  <a:txBody>
                    <a:bodyPr/>
                    <a:lstStyle/>
                    <a:p>
                      <a:pPr algn="ctr">
                        <a:spcAft>
                          <a:spcPts val="0"/>
                        </a:spcAft>
                      </a:pPr>
                      <a:r>
                        <a:rPr lang="en-IE" sz="2000" dirty="0">
                          <a:effectLst/>
                        </a:rPr>
                        <a:t>Workshops</a:t>
                      </a:r>
                      <a:endParaRPr lang="en-IE" sz="2000" dirty="0">
                        <a:effectLst/>
                        <a:latin typeface="+mn-lt"/>
                        <a:ea typeface="Calibri" panose="020F0502020204030204" pitchFamily="34" charset="0"/>
                        <a:cs typeface="Calibri" panose="020F0502020204030204" pitchFamily="34" charset="0"/>
                      </a:endParaRPr>
                    </a:p>
                  </a:txBody>
                  <a:tcPr/>
                </a:tc>
                <a:tc>
                  <a:txBody>
                    <a:bodyPr/>
                    <a:lstStyle/>
                    <a:p>
                      <a:pPr algn="ctr">
                        <a:spcAft>
                          <a:spcPts val="0"/>
                        </a:spcAft>
                      </a:pPr>
                      <a:r>
                        <a:rPr lang="en-IE" sz="2000" dirty="0">
                          <a:effectLst/>
                        </a:rPr>
                        <a:t>Participants</a:t>
                      </a:r>
                      <a:endParaRPr lang="en-IE" sz="2000" dirty="0">
                        <a:effectLst/>
                        <a:latin typeface="+mn-lt"/>
                        <a:ea typeface="Calibri" panose="020F0502020204030204" pitchFamily="34" charset="0"/>
                        <a:cs typeface="Calibri" panose="020F0502020204030204" pitchFamily="34" charset="0"/>
                      </a:endParaRPr>
                    </a:p>
                  </a:txBody>
                  <a:tcPr/>
                </a:tc>
                <a:tc>
                  <a:txBody>
                    <a:bodyPr/>
                    <a:lstStyle/>
                    <a:p>
                      <a:pPr algn="ctr">
                        <a:spcAft>
                          <a:spcPts val="0"/>
                        </a:spcAft>
                      </a:pPr>
                      <a:r>
                        <a:rPr lang="en-IE" sz="2000" dirty="0">
                          <a:effectLst/>
                        </a:rPr>
                        <a:t>Critical</a:t>
                      </a:r>
                      <a:endParaRPr lang="en-IE" sz="2000" dirty="0">
                        <a:effectLst/>
                        <a:latin typeface="+mn-lt"/>
                        <a:ea typeface="Calibri" panose="020F0502020204030204" pitchFamily="34" charset="0"/>
                        <a:cs typeface="Calibri" panose="020F0502020204030204" pitchFamily="34" charset="0"/>
                      </a:endParaRPr>
                    </a:p>
                  </a:txBody>
                  <a:tcPr/>
                </a:tc>
                <a:tc>
                  <a:txBody>
                    <a:bodyPr/>
                    <a:lstStyle/>
                    <a:p>
                      <a:pPr algn="ctr">
                        <a:spcAft>
                          <a:spcPts val="0"/>
                        </a:spcAft>
                      </a:pPr>
                      <a:r>
                        <a:rPr lang="en-IE" sz="2000" dirty="0">
                          <a:effectLst/>
                        </a:rPr>
                        <a:t>Major</a:t>
                      </a:r>
                      <a:endParaRPr lang="en-IE" sz="2000" dirty="0">
                        <a:effectLst/>
                        <a:latin typeface="+mn-lt"/>
                        <a:ea typeface="Calibri" panose="020F0502020204030204" pitchFamily="34" charset="0"/>
                        <a:cs typeface="Calibri" panose="020F0502020204030204" pitchFamily="34" charset="0"/>
                      </a:endParaRPr>
                    </a:p>
                  </a:txBody>
                  <a:tcPr/>
                </a:tc>
                <a:tc>
                  <a:txBody>
                    <a:bodyPr/>
                    <a:lstStyle/>
                    <a:p>
                      <a:pPr algn="ctr">
                        <a:spcAft>
                          <a:spcPts val="0"/>
                        </a:spcAft>
                      </a:pPr>
                      <a:r>
                        <a:rPr lang="en-IE" sz="2000" dirty="0">
                          <a:effectLst/>
                        </a:rPr>
                        <a:t>Minor</a:t>
                      </a:r>
                      <a:endParaRPr lang="en-IE" sz="2000" dirty="0">
                        <a:effectLst/>
                        <a:latin typeface="+mn-lt"/>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796765439"/>
                  </a:ext>
                </a:extLst>
              </a:tr>
              <a:tr h="471119">
                <a:tc>
                  <a:txBody>
                    <a:bodyPr/>
                    <a:lstStyle/>
                    <a:p>
                      <a:pPr>
                        <a:spcAft>
                          <a:spcPts val="0"/>
                        </a:spcAft>
                      </a:pPr>
                      <a:r>
                        <a:rPr lang="en-IE" sz="2000" dirty="0">
                          <a:effectLst/>
                        </a:rPr>
                        <a:t>Total</a:t>
                      </a:r>
                      <a:endParaRPr lang="en-IE" sz="2000" dirty="0">
                        <a:effectLst/>
                        <a:latin typeface="+mn-lt"/>
                        <a:ea typeface="Calibri" panose="020F0502020204030204" pitchFamily="34" charset="0"/>
                        <a:cs typeface="Calibri" panose="020F0502020204030204" pitchFamily="34" charset="0"/>
                      </a:endParaRPr>
                    </a:p>
                  </a:txBody>
                  <a:tcPr anchor="ctr"/>
                </a:tc>
                <a:tc>
                  <a:txBody>
                    <a:bodyPr/>
                    <a:lstStyle/>
                    <a:p>
                      <a:pPr algn="ctr">
                        <a:spcAft>
                          <a:spcPts val="0"/>
                        </a:spcAft>
                      </a:pPr>
                      <a:r>
                        <a:rPr lang="en-IE" sz="2000" b="1" dirty="0">
                          <a:effectLst/>
                        </a:rPr>
                        <a:t>8</a:t>
                      </a:r>
                      <a:endParaRPr lang="en-IE" sz="2000" b="1" dirty="0">
                        <a:effectLst/>
                        <a:latin typeface="+mn-lt"/>
                        <a:ea typeface="Calibri" panose="020F0502020204030204" pitchFamily="34" charset="0"/>
                        <a:cs typeface="Calibri" panose="020F0502020204030204" pitchFamily="34" charset="0"/>
                      </a:endParaRPr>
                    </a:p>
                  </a:txBody>
                  <a:tcPr anchor="ctr"/>
                </a:tc>
                <a:tc>
                  <a:txBody>
                    <a:bodyPr/>
                    <a:lstStyle/>
                    <a:p>
                      <a:pPr algn="ctr">
                        <a:spcAft>
                          <a:spcPts val="0"/>
                        </a:spcAft>
                      </a:pPr>
                      <a:r>
                        <a:rPr lang="en-IE" sz="2000" b="1" dirty="0">
                          <a:effectLst/>
                        </a:rPr>
                        <a:t>112</a:t>
                      </a:r>
                      <a:endParaRPr lang="en-IE" sz="2000" b="1" dirty="0">
                        <a:effectLst/>
                        <a:latin typeface="+mn-lt"/>
                        <a:ea typeface="Calibri" panose="020F0502020204030204" pitchFamily="34" charset="0"/>
                        <a:cs typeface="Calibri" panose="020F0502020204030204" pitchFamily="34" charset="0"/>
                      </a:endParaRPr>
                    </a:p>
                  </a:txBody>
                  <a:tcPr anchor="ctr"/>
                </a:tc>
                <a:tc>
                  <a:txBody>
                    <a:bodyPr/>
                    <a:lstStyle/>
                    <a:p>
                      <a:pPr algn="ctr">
                        <a:spcAft>
                          <a:spcPts val="0"/>
                        </a:spcAft>
                      </a:pPr>
                      <a:r>
                        <a:rPr lang="en-IE" sz="2000" b="1" dirty="0">
                          <a:effectLst/>
                        </a:rPr>
                        <a:t>15</a:t>
                      </a:r>
                      <a:endParaRPr lang="en-IE" sz="2000" b="1" dirty="0">
                        <a:effectLst/>
                        <a:latin typeface="+mn-lt"/>
                        <a:ea typeface="Calibri" panose="020F0502020204030204" pitchFamily="34" charset="0"/>
                        <a:cs typeface="Calibri" panose="020F0502020204030204" pitchFamily="34" charset="0"/>
                      </a:endParaRPr>
                    </a:p>
                  </a:txBody>
                  <a:tcPr anchor="ctr"/>
                </a:tc>
                <a:tc>
                  <a:txBody>
                    <a:bodyPr/>
                    <a:lstStyle/>
                    <a:p>
                      <a:pPr algn="ctr">
                        <a:spcAft>
                          <a:spcPts val="0"/>
                        </a:spcAft>
                      </a:pPr>
                      <a:r>
                        <a:rPr lang="en-IE" sz="2000" b="1" dirty="0">
                          <a:effectLst/>
                        </a:rPr>
                        <a:t>43</a:t>
                      </a:r>
                      <a:endParaRPr lang="en-IE" sz="2000" b="1" dirty="0">
                        <a:effectLst/>
                        <a:latin typeface="+mn-lt"/>
                        <a:ea typeface="Calibri" panose="020F0502020204030204" pitchFamily="34" charset="0"/>
                        <a:cs typeface="Calibri" panose="020F0502020204030204" pitchFamily="34" charset="0"/>
                      </a:endParaRPr>
                    </a:p>
                  </a:txBody>
                  <a:tcPr anchor="ctr"/>
                </a:tc>
                <a:tc>
                  <a:txBody>
                    <a:bodyPr/>
                    <a:lstStyle/>
                    <a:p>
                      <a:pPr algn="ctr">
                        <a:spcAft>
                          <a:spcPts val="0"/>
                        </a:spcAft>
                      </a:pPr>
                      <a:r>
                        <a:rPr lang="en-IE" sz="2000" b="1" dirty="0">
                          <a:effectLst/>
                        </a:rPr>
                        <a:t>32</a:t>
                      </a:r>
                      <a:endParaRPr lang="en-IE" sz="2000" b="1" dirty="0">
                        <a:effectLst/>
                        <a:latin typeface="+mn-lt"/>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803877302"/>
                  </a:ext>
                </a:extLst>
              </a:tr>
            </a:tbl>
          </a:graphicData>
        </a:graphic>
      </p:graphicFrame>
    </p:spTree>
    <p:extLst>
      <p:ext uri="{BB962C8B-B14F-4D97-AF65-F5344CB8AC3E}">
        <p14:creationId xmlns:p14="http://schemas.microsoft.com/office/powerpoint/2010/main" val="3080466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92"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96B01F23-8403-4D20-9B65-7974D7F12F72}"/>
              </a:ext>
            </a:extLst>
          </p:cNvPr>
          <p:cNvSpPr>
            <a:spLocks noGrp="1"/>
          </p:cNvSpPr>
          <p:nvPr>
            <p:ph type="title"/>
          </p:nvPr>
        </p:nvSpPr>
        <p:spPr/>
        <p:txBody>
          <a:bodyPr/>
          <a:lstStyle/>
          <a:p>
            <a:r>
              <a:rPr lang="en-GB" dirty="0">
                <a:latin typeface="Nokia Pure Headline" panose="020B0504040602060303" pitchFamily="34" charset="0"/>
              </a:rPr>
              <a:t>Introduction</a:t>
            </a:r>
            <a:br>
              <a:rPr lang="en-GB" dirty="0">
                <a:latin typeface="Nokia Pure Headline" panose="020B0504040602060303" pitchFamily="34" charset="0"/>
              </a:rPr>
            </a:br>
            <a:r>
              <a:rPr lang="en-GB" dirty="0">
                <a:solidFill>
                  <a:schemeClr val="bg2"/>
                </a:solidFill>
                <a:latin typeface="Nokia Pure Headline Ultra Light" panose="020B0204040602060303" pitchFamily="34" charset="0"/>
              </a:rPr>
              <a:t>Szilárd Széll – DevOps Evangelist, Test Coach, NOKIA</a:t>
            </a:r>
            <a:br>
              <a:rPr lang="en-GB" dirty="0">
                <a:solidFill>
                  <a:schemeClr val="bg2"/>
                </a:solidFill>
                <a:latin typeface="Nokia Pure Headline Ultra Light" panose="020B0204040602060303" pitchFamily="34" charset="0"/>
              </a:rPr>
            </a:br>
            <a:br>
              <a:rPr lang="en-GB" dirty="0"/>
            </a:br>
            <a:endParaRPr lang="en-GB" dirty="0"/>
          </a:p>
        </p:txBody>
      </p:sp>
      <p:sp>
        <p:nvSpPr>
          <p:cNvPr id="4" name="Text Placeholder 3">
            <a:extLst>
              <a:ext uri="{FF2B5EF4-FFF2-40B4-BE49-F238E27FC236}">
                <a16:creationId xmlns:a16="http://schemas.microsoft.com/office/drawing/2014/main" id="{0D9CC333-BDA5-4DC9-969B-DAFB40F2225B}"/>
              </a:ext>
            </a:extLst>
          </p:cNvPr>
          <p:cNvSpPr>
            <a:spLocks noGrp="1"/>
          </p:cNvSpPr>
          <p:nvPr>
            <p:ph idx="1"/>
          </p:nvPr>
        </p:nvSpPr>
        <p:spPr>
          <a:xfrm>
            <a:off x="417514" y="1079500"/>
            <a:ext cx="6548528" cy="3560763"/>
          </a:xfrm>
          <a:prstGeom prst="rect">
            <a:avLst/>
          </a:prstGeom>
          <a:solidFill>
            <a:srgbClr val="FFFFFF">
              <a:alpha val="50196"/>
            </a:srgbClr>
          </a:solidFill>
        </p:spPr>
        <p:txBody>
          <a:bodyPr lIns="72000" tIns="72000" rIns="72000">
            <a:normAutofit fontScale="47500" lnSpcReduction="20000"/>
          </a:bodyPr>
          <a:lstStyle/>
          <a:p>
            <a:pPr marL="0" indent="0">
              <a:buNone/>
            </a:pPr>
            <a:r>
              <a:rPr lang="en-GB" sz="4200" dirty="0">
                <a:solidFill>
                  <a:schemeClr val="bg2">
                    <a:lumMod val="75000"/>
                  </a:schemeClr>
                </a:solidFill>
                <a:ea typeface="Nokia Pure Text Light" panose="020B0304040602060303" pitchFamily="34" charset="0"/>
                <a:cs typeface="Nokia Pure Text Light" panose="020B0304040602060303" pitchFamily="34" charset="0"/>
              </a:rPr>
              <a:t>Responsibilities</a:t>
            </a:r>
            <a:endParaRPr lang="en-GB" dirty="0">
              <a:solidFill>
                <a:schemeClr val="bg2">
                  <a:lumMod val="75000"/>
                </a:schemeClr>
              </a:solidFill>
              <a:ea typeface="Nokia Pure Text Light" panose="020B0304040602060303" pitchFamily="34" charset="0"/>
              <a:cs typeface="Nokia Pure Text Light" panose="020B0304040602060303" pitchFamily="34" charset="0"/>
            </a:endParaRPr>
          </a:p>
          <a:p>
            <a:pPr>
              <a:buFont typeface="Arial" pitchFamily="34" charset="0"/>
              <a:buChar char="•"/>
            </a:pPr>
            <a:r>
              <a:rPr lang="en-GB" sz="3400" dirty="0">
                <a:solidFill>
                  <a:schemeClr val="bg2">
                    <a:lumMod val="75000"/>
                  </a:schemeClr>
                </a:solidFill>
                <a:ea typeface="Nokia Pure Text Light" panose="020B0304040602060303" pitchFamily="34" charset="0"/>
                <a:cs typeface="Nokia Pure Text Light" panose="020B0304040602060303" pitchFamily="34" charset="0"/>
              </a:rPr>
              <a:t>Test Coach and DevOps Evangelist in NOKIA with 19 years experience</a:t>
            </a:r>
          </a:p>
          <a:p>
            <a:pPr>
              <a:buFont typeface="Arial" pitchFamily="34" charset="0"/>
              <a:buChar char="•"/>
            </a:pPr>
            <a:r>
              <a:rPr lang="en-GB" sz="3400" dirty="0">
                <a:solidFill>
                  <a:schemeClr val="bg2">
                    <a:lumMod val="75000"/>
                  </a:schemeClr>
                </a:solidFill>
                <a:ea typeface="Nokia Pure Text Light" panose="020B0304040602060303" pitchFamily="34" charset="0"/>
                <a:cs typeface="Nokia Pure Text Light" panose="020B0304040602060303" pitchFamily="34" charset="0"/>
              </a:rPr>
              <a:t>Former President of the Hungarian Testing Board</a:t>
            </a:r>
          </a:p>
          <a:p>
            <a:pPr>
              <a:buFont typeface="Arial" pitchFamily="34" charset="0"/>
              <a:buChar char="•"/>
            </a:pPr>
            <a:r>
              <a:rPr lang="en-GB" sz="3400" dirty="0">
                <a:solidFill>
                  <a:schemeClr val="bg2">
                    <a:lumMod val="75000"/>
                  </a:schemeClr>
                </a:solidFill>
                <a:ea typeface="Nokia Pure Text Light" panose="020B0304040602060303" pitchFamily="34" charset="0"/>
                <a:cs typeface="Nokia Pure Text Light" panose="020B0304040602060303" pitchFamily="34" charset="0"/>
              </a:rPr>
              <a:t>Processes Management and Compliance Work Group Chair of ISTQB</a:t>
            </a:r>
          </a:p>
          <a:p>
            <a:pPr>
              <a:buFont typeface="Arial" pitchFamily="34" charset="0"/>
              <a:buChar char="•"/>
            </a:pPr>
            <a:r>
              <a:rPr lang="en-GB" sz="3400" dirty="0">
                <a:solidFill>
                  <a:schemeClr val="bg2">
                    <a:lumMod val="75000"/>
                  </a:schemeClr>
                </a:solidFill>
                <a:ea typeface="Nokia Pure Text Light" panose="020B0304040602060303" pitchFamily="34" charset="0"/>
                <a:cs typeface="Nokia Pure Text Light" panose="020B0304040602060303" pitchFamily="34" charset="0"/>
              </a:rPr>
              <a:t>Program Committee Chair and Member of UCAAT and HUSTEF</a:t>
            </a:r>
          </a:p>
          <a:p>
            <a:endParaRPr lang="en-GB" b="1" dirty="0">
              <a:solidFill>
                <a:schemeClr val="bg2">
                  <a:lumMod val="75000"/>
                </a:schemeClr>
              </a:solidFill>
              <a:ea typeface="Nokia Pure Text Light" panose="020B0304040602060303" pitchFamily="34" charset="0"/>
              <a:cs typeface="Nokia Pure Text Light" panose="020B0304040602060303" pitchFamily="34" charset="0"/>
            </a:endParaRPr>
          </a:p>
          <a:p>
            <a:pPr marL="0" indent="0">
              <a:buNone/>
            </a:pPr>
            <a:r>
              <a:rPr lang="en-GB" sz="4200" dirty="0">
                <a:solidFill>
                  <a:schemeClr val="bg2">
                    <a:lumMod val="75000"/>
                  </a:schemeClr>
                </a:solidFill>
                <a:ea typeface="Nokia Pure Text Light" panose="020B0304040602060303" pitchFamily="34" charset="0"/>
                <a:cs typeface="Nokia Pure Text Light" panose="020B0304040602060303" pitchFamily="34" charset="0"/>
              </a:rPr>
              <a:t>Certifications</a:t>
            </a:r>
            <a:endParaRPr lang="en-GB" dirty="0">
              <a:solidFill>
                <a:schemeClr val="bg2">
                  <a:lumMod val="75000"/>
                </a:schemeClr>
              </a:solidFill>
              <a:ea typeface="Nokia Pure Text Light" panose="020B0304040602060303" pitchFamily="34" charset="0"/>
              <a:cs typeface="Nokia Pure Text Light" panose="020B0304040602060303" pitchFamily="34" charset="0"/>
            </a:endParaRPr>
          </a:p>
          <a:p>
            <a:pPr>
              <a:buFont typeface="Arial" pitchFamily="34" charset="0"/>
              <a:buChar char="•"/>
            </a:pPr>
            <a:r>
              <a:rPr lang="en-GB" sz="3400" dirty="0">
                <a:solidFill>
                  <a:schemeClr val="bg2">
                    <a:lumMod val="75000"/>
                  </a:schemeClr>
                </a:solidFill>
                <a:ea typeface="Nokia Pure Text Light" panose="020B0304040602060303" pitchFamily="34" charset="0"/>
                <a:cs typeface="Nokia Pure Text Light" panose="020B0304040602060303" pitchFamily="34" charset="0"/>
              </a:rPr>
              <a:t>DevOps DASA Foundation, SAFe SPC, Certified Scrum Master</a:t>
            </a:r>
          </a:p>
          <a:p>
            <a:pPr>
              <a:buFont typeface="Arial" pitchFamily="34" charset="0"/>
              <a:buChar char="•"/>
            </a:pPr>
            <a:r>
              <a:rPr lang="en-GB" sz="3400" dirty="0">
                <a:solidFill>
                  <a:schemeClr val="bg2">
                    <a:lumMod val="75000"/>
                  </a:schemeClr>
                </a:solidFill>
                <a:ea typeface="Nokia Pure Text Light" panose="020B0304040602060303" pitchFamily="34" charset="0"/>
                <a:cs typeface="Nokia Pure Text Light" panose="020B0304040602060303" pitchFamily="34" charset="0"/>
              </a:rPr>
              <a:t>ISTQB CTEL-ITP-Full, CTAL-TM, CTFL-Agile Tester</a:t>
            </a:r>
          </a:p>
          <a:p>
            <a:pPr>
              <a:buFont typeface="Arial" pitchFamily="34" charset="0"/>
              <a:buChar char="•"/>
            </a:pPr>
            <a:r>
              <a:rPr lang="en-GB" sz="3400" dirty="0">
                <a:solidFill>
                  <a:schemeClr val="bg2">
                    <a:lumMod val="75000"/>
                  </a:schemeClr>
                </a:solidFill>
                <a:ea typeface="Nokia Pure Text Light" panose="020B0304040602060303" pitchFamily="34" charset="0"/>
                <a:cs typeface="Nokia Pure Text Light" panose="020B0304040602060303" pitchFamily="34" charset="0"/>
              </a:rPr>
              <a:t>IREB CPRE</a:t>
            </a:r>
          </a:p>
          <a:p>
            <a:pPr>
              <a:buFont typeface="Arial" pitchFamily="34" charset="0"/>
              <a:buChar char="•"/>
            </a:pPr>
            <a:r>
              <a:rPr lang="en-GB" sz="3400" dirty="0">
                <a:solidFill>
                  <a:schemeClr val="bg2">
                    <a:lumMod val="75000"/>
                  </a:schemeClr>
                </a:solidFill>
                <a:ea typeface="Nokia Pure Text Light" panose="020B0304040602060303" pitchFamily="34" charset="0"/>
                <a:cs typeface="Nokia Pure Text Light" panose="020B0304040602060303" pitchFamily="34" charset="0"/>
              </a:rPr>
              <a:t>Lean Six Sigma Green Belt</a:t>
            </a:r>
          </a:p>
          <a:p>
            <a:endParaRPr lang="en-GB" dirty="0"/>
          </a:p>
        </p:txBody>
      </p:sp>
      <p:pic>
        <p:nvPicPr>
          <p:cNvPr id="7" name="Picture 6">
            <a:extLst>
              <a:ext uri="{FF2B5EF4-FFF2-40B4-BE49-F238E27FC236}">
                <a16:creationId xmlns:a16="http://schemas.microsoft.com/office/drawing/2014/main" id="{13A0EDE5-3825-4F81-AF75-680326B939D7}"/>
              </a:ext>
            </a:extLst>
          </p:cNvPr>
          <p:cNvPicPr>
            <a:picLocks noChangeAspect="1"/>
          </p:cNvPicPr>
          <p:nvPr/>
        </p:nvPicPr>
        <p:blipFill rotWithShape="1">
          <a:blip r:embed="rId7"/>
          <a:srcRect l="13640" t="19931" r="62995" b="8774"/>
          <a:stretch/>
        </p:blipFill>
        <p:spPr>
          <a:xfrm>
            <a:off x="6966041" y="1079499"/>
            <a:ext cx="1746799" cy="3560763"/>
          </a:xfrm>
          <a:prstGeom prst="rect">
            <a:avLst/>
          </a:prstGeom>
        </p:spPr>
      </p:pic>
    </p:spTree>
    <p:extLst>
      <p:ext uri="{BB962C8B-B14F-4D97-AF65-F5344CB8AC3E}">
        <p14:creationId xmlns:p14="http://schemas.microsoft.com/office/powerpoint/2010/main" val="38239421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solidFill>
            <a:schemeClr val="accent6"/>
          </a:solidFill>
        </p:spPr>
        <p:txBody>
          <a:bodyPr lIns="180000" rIns="180000" anchor="ctr"/>
          <a:lstStyle/>
          <a:p>
            <a:r>
              <a:rPr lang="en-US" sz="2000" dirty="0">
                <a:solidFill>
                  <a:schemeClr val="tx1"/>
                </a:solidFill>
              </a:rPr>
              <a:t>Negative scoring as a punishment for not following rules</a:t>
            </a:r>
          </a:p>
          <a:p>
            <a:r>
              <a:rPr lang="en-US" sz="2000" dirty="0">
                <a:solidFill>
                  <a:schemeClr val="tx1"/>
                </a:solidFill>
              </a:rPr>
              <a:t>“Hunting session” takes a month</a:t>
            </a:r>
          </a:p>
          <a:p>
            <a:r>
              <a:rPr lang="en-US" sz="2000" dirty="0">
                <a:solidFill>
                  <a:schemeClr val="tx1"/>
                </a:solidFill>
              </a:rPr>
              <a:t>Using only Pre-Automated test cases</a:t>
            </a:r>
          </a:p>
          <a:p>
            <a:r>
              <a:rPr lang="en-US" sz="2000" dirty="0">
                <a:solidFill>
                  <a:schemeClr val="tx1"/>
                </a:solidFill>
              </a:rPr>
              <a:t>Connect Real Incentive to results</a:t>
            </a:r>
          </a:p>
          <a:p>
            <a:r>
              <a:rPr lang="en-US" sz="2000" dirty="0">
                <a:solidFill>
                  <a:schemeClr val="tx1"/>
                </a:solidFill>
              </a:rPr>
              <a:t>Collecting Bugs beforehand and keep them in your pocket until the Bug Hunting Event</a:t>
            </a:r>
          </a:p>
        </p:txBody>
      </p:sp>
      <p:sp>
        <p:nvSpPr>
          <p:cNvPr id="6" name="Title 5"/>
          <p:cNvSpPr>
            <a:spLocks noGrp="1"/>
          </p:cNvSpPr>
          <p:nvPr>
            <p:ph type="title"/>
          </p:nvPr>
        </p:nvSpPr>
        <p:spPr/>
        <p:txBody>
          <a:bodyPr/>
          <a:lstStyle/>
          <a:p>
            <a:r>
              <a:rPr lang="en-US" dirty="0"/>
              <a:t>Bug Hunting</a:t>
            </a:r>
          </a:p>
        </p:txBody>
      </p:sp>
      <p:sp>
        <p:nvSpPr>
          <p:cNvPr id="8" name="Content Placeholder 7"/>
          <p:cNvSpPr>
            <a:spLocks noGrp="1"/>
          </p:cNvSpPr>
          <p:nvPr>
            <p:ph sz="quarter" idx="13"/>
          </p:nvPr>
        </p:nvSpPr>
        <p:spPr/>
        <p:txBody>
          <a:bodyPr/>
          <a:lstStyle/>
          <a:p>
            <a:r>
              <a:rPr lang="en-US" dirty="0"/>
              <a:t>Misuse – to be avoided</a:t>
            </a:r>
          </a:p>
        </p:txBody>
      </p:sp>
    </p:spTree>
    <p:extLst>
      <p:ext uri="{BB962C8B-B14F-4D97-AF65-F5344CB8AC3E}">
        <p14:creationId xmlns:p14="http://schemas.microsoft.com/office/powerpoint/2010/main" val="1140498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BBA591CA-DD2E-44DB-A6A1-2520E908F7F5}"/>
              </a:ext>
            </a:extLst>
          </p:cNvPr>
          <p:cNvSpPr>
            <a:spLocks noGrp="1"/>
          </p:cNvSpPr>
          <p:nvPr>
            <p:ph type="title"/>
          </p:nvPr>
        </p:nvSpPr>
        <p:spPr/>
        <p:txBody>
          <a:bodyPr tIns="180000"/>
          <a:lstStyle/>
          <a:p>
            <a:r>
              <a:rPr lang="en-US" dirty="0">
                <a:solidFill>
                  <a:schemeClr val="tx1"/>
                </a:solidFill>
                <a:latin typeface="Nokia Pure Headline Light" panose="020B0304040602060303" pitchFamily="34" charset="0"/>
              </a:rPr>
              <a:t>Agenda for today</a:t>
            </a:r>
          </a:p>
        </p:txBody>
      </p:sp>
      <p:sp>
        <p:nvSpPr>
          <p:cNvPr id="2" name="Content Placeholder 1">
            <a:extLst>
              <a:ext uri="{FF2B5EF4-FFF2-40B4-BE49-F238E27FC236}">
                <a16:creationId xmlns:a16="http://schemas.microsoft.com/office/drawing/2014/main" id="{65510074-6CE9-41A5-A63A-23F3371C7B15}"/>
              </a:ext>
            </a:extLst>
          </p:cNvPr>
          <p:cNvSpPr>
            <a:spLocks noGrp="1"/>
          </p:cNvSpPr>
          <p:nvPr>
            <p:ph idx="1"/>
          </p:nvPr>
        </p:nvSpPr>
        <p:spPr/>
        <p:txBody>
          <a:bodyPr/>
          <a:lstStyle/>
          <a:p>
            <a:endParaRPr lang="fi-FI"/>
          </a:p>
        </p:txBody>
      </p:sp>
      <p:sp>
        <p:nvSpPr>
          <p:cNvPr id="5" name="TextBox 4"/>
          <p:cNvSpPr txBox="1"/>
          <p:nvPr/>
        </p:nvSpPr>
        <p:spPr>
          <a:xfrm>
            <a:off x="681059" y="1727699"/>
            <a:ext cx="4879769" cy="432000"/>
          </a:xfrm>
          <a:prstGeom prst="rect">
            <a:avLst/>
          </a:prstGeom>
          <a:gradFill>
            <a:gsLst>
              <a:gs pos="97345">
                <a:srgbClr val="FFFFFF">
                  <a:alpha val="83137"/>
                </a:srgbClr>
              </a:gs>
              <a:gs pos="0">
                <a:srgbClr val="FFFFFF">
                  <a:alpha val="0"/>
                </a:srgbClr>
              </a:gs>
              <a:gs pos="19000">
                <a:srgbClr val="FFFFFF">
                  <a:alpha val="45882"/>
                </a:srgbClr>
              </a:gs>
              <a:gs pos="54000">
                <a:srgbClr val="FFFFFF">
                  <a:alpha val="65098"/>
                </a:srgbClr>
              </a:gs>
            </a:gsLst>
            <a:lin ang="9600000" scaled="0"/>
          </a:gradFill>
        </p:spPr>
        <p:txBody>
          <a:bodyPr wrap="square" lIns="396000" rtlCol="0" anchor="ctr">
            <a:noAutofit/>
          </a:bodyPr>
          <a:lstStyle/>
          <a:p>
            <a:r>
              <a:rPr lang="en-US" sz="1600" dirty="0">
                <a:solidFill>
                  <a:schemeClr val="bg2">
                    <a:lumMod val="75000"/>
                  </a:schemeClr>
                </a:solidFill>
                <a:latin typeface="Nokia Pure Headline Light" panose="020B0304040602060303" pitchFamily="34" charset="0"/>
              </a:rPr>
              <a:t>Exploratory Testing</a:t>
            </a:r>
          </a:p>
        </p:txBody>
      </p:sp>
      <p:sp>
        <p:nvSpPr>
          <p:cNvPr id="6" name="TextBox 5"/>
          <p:cNvSpPr txBox="1"/>
          <p:nvPr/>
        </p:nvSpPr>
        <p:spPr>
          <a:xfrm>
            <a:off x="681060" y="2298909"/>
            <a:ext cx="4879769" cy="432000"/>
          </a:xfrm>
          <a:prstGeom prst="rect">
            <a:avLst/>
          </a:prstGeom>
          <a:gradFill>
            <a:gsLst>
              <a:gs pos="97345">
                <a:srgbClr val="FFFFFF">
                  <a:alpha val="83137"/>
                </a:srgbClr>
              </a:gs>
              <a:gs pos="0">
                <a:srgbClr val="FFFFFF">
                  <a:alpha val="0"/>
                </a:srgbClr>
              </a:gs>
              <a:gs pos="19000">
                <a:srgbClr val="FFFFFF">
                  <a:alpha val="45882"/>
                </a:srgbClr>
              </a:gs>
              <a:gs pos="54000">
                <a:srgbClr val="FFFFFF">
                  <a:alpha val="65098"/>
                </a:srgbClr>
              </a:gs>
            </a:gsLst>
            <a:lin ang="9600000" scaled="0"/>
          </a:gradFill>
        </p:spPr>
        <p:txBody>
          <a:bodyPr wrap="none" lIns="396000" rtlCol="0" anchor="ctr">
            <a:noAutofit/>
          </a:bodyPr>
          <a:lstStyle/>
          <a:p>
            <a:r>
              <a:rPr lang="en-US" sz="1600" dirty="0">
                <a:solidFill>
                  <a:schemeClr val="bg2">
                    <a:lumMod val="75000"/>
                  </a:schemeClr>
                </a:solidFill>
                <a:latin typeface="Nokia Pure Headline Light" panose="020B0304040602060303" pitchFamily="34" charset="0"/>
              </a:rPr>
              <a:t>Bug Hunting</a:t>
            </a:r>
          </a:p>
        </p:txBody>
      </p:sp>
      <p:sp>
        <p:nvSpPr>
          <p:cNvPr id="7" name="TextBox 6"/>
          <p:cNvSpPr txBox="1"/>
          <p:nvPr/>
        </p:nvSpPr>
        <p:spPr>
          <a:xfrm>
            <a:off x="681060" y="2870118"/>
            <a:ext cx="4879769" cy="432000"/>
          </a:xfrm>
          <a:prstGeom prst="rect">
            <a:avLst/>
          </a:prstGeom>
          <a:gradFill>
            <a:gsLst>
              <a:gs pos="97345">
                <a:srgbClr val="FFFFFF">
                  <a:alpha val="83137"/>
                </a:srgbClr>
              </a:gs>
              <a:gs pos="0">
                <a:srgbClr val="FFFFFF">
                  <a:alpha val="0"/>
                </a:srgbClr>
              </a:gs>
              <a:gs pos="19000">
                <a:srgbClr val="FFFFFF">
                  <a:alpha val="45882"/>
                </a:srgbClr>
              </a:gs>
              <a:gs pos="54000">
                <a:srgbClr val="FFFFFF">
                  <a:alpha val="65098"/>
                </a:srgbClr>
              </a:gs>
            </a:gsLst>
            <a:lin ang="9600000" scaled="0"/>
          </a:gradFill>
        </p:spPr>
        <p:txBody>
          <a:bodyPr wrap="none" lIns="396000" rtlCol="0" anchor="ctr">
            <a:noAutofit/>
          </a:bodyPr>
          <a:lstStyle/>
          <a:p>
            <a:r>
              <a:rPr lang="en-US" sz="1600" dirty="0">
                <a:solidFill>
                  <a:schemeClr val="bg2">
                    <a:lumMod val="75000"/>
                  </a:schemeClr>
                </a:solidFill>
                <a:latin typeface="Nokia Pure Headline Light" panose="020B0304040602060303" pitchFamily="34" charset="0"/>
              </a:rPr>
              <a:t>Fit to DevOps and SAFe</a:t>
            </a:r>
            <a:endParaRPr lang="en-US" sz="1600" dirty="0">
              <a:solidFill>
                <a:schemeClr val="bg2"/>
              </a:solidFill>
              <a:latin typeface="Nokia Pure Headline Light" panose="020B0304040602060303" pitchFamily="34" charset="0"/>
            </a:endParaRPr>
          </a:p>
        </p:txBody>
      </p:sp>
      <p:sp>
        <p:nvSpPr>
          <p:cNvPr id="8" name="Oval 7"/>
          <p:cNvSpPr/>
          <p:nvPr/>
        </p:nvSpPr>
        <p:spPr>
          <a:xfrm>
            <a:off x="491146" y="2289535"/>
            <a:ext cx="432000" cy="432000"/>
          </a:xfrm>
          <a:prstGeom prst="ellipse">
            <a:avLst/>
          </a:prstGeom>
          <a:solidFill>
            <a:schemeClr val="bg2">
              <a:lumMod val="20000"/>
              <a:lumOff val="80000"/>
            </a:schemeClr>
          </a:solidFill>
          <a:ln w="28575">
            <a:solidFill>
              <a:schemeClr val="bg1"/>
            </a:solidFill>
          </a:ln>
        </p:spPr>
        <p:txBody>
          <a:bodyPr wrap="none" lIns="90000" rtlCol="0" anchor="ctr">
            <a:noAutofit/>
          </a:bodyPr>
          <a:lstStyle/>
          <a:p>
            <a:pPr algn="ctr"/>
            <a:r>
              <a:rPr lang="en-US" sz="2400" b="1" dirty="0">
                <a:solidFill>
                  <a:schemeClr val="bg1"/>
                </a:solidFill>
              </a:rPr>
              <a:t>2</a:t>
            </a:r>
          </a:p>
        </p:txBody>
      </p:sp>
      <p:sp>
        <p:nvSpPr>
          <p:cNvPr id="9" name="Oval 8"/>
          <p:cNvSpPr/>
          <p:nvPr/>
        </p:nvSpPr>
        <p:spPr>
          <a:xfrm>
            <a:off x="491146" y="2860808"/>
            <a:ext cx="432000" cy="432000"/>
          </a:xfrm>
          <a:prstGeom prst="ellipse">
            <a:avLst/>
          </a:prstGeom>
          <a:solidFill>
            <a:schemeClr val="bg2"/>
          </a:solidFill>
          <a:ln w="28575">
            <a:solidFill>
              <a:schemeClr val="bg1"/>
            </a:solidFill>
          </a:ln>
        </p:spPr>
        <p:txBody>
          <a:bodyPr wrap="none" lIns="90000" rtlCol="0" anchor="ctr">
            <a:noAutofit/>
          </a:bodyPr>
          <a:lstStyle/>
          <a:p>
            <a:pPr algn="ctr"/>
            <a:r>
              <a:rPr lang="en-US" sz="2400" b="1" dirty="0">
                <a:solidFill>
                  <a:schemeClr val="bg1"/>
                </a:solidFill>
                <a:latin typeface="+mn-lt"/>
                <a:ea typeface="ヒラギノ角ゴ Pro W3"/>
                <a:cs typeface="ヒラギノ角ゴ Pro W3"/>
              </a:rPr>
              <a:t>3</a:t>
            </a:r>
          </a:p>
        </p:txBody>
      </p:sp>
      <p:sp>
        <p:nvSpPr>
          <p:cNvPr id="10" name="Oval 9"/>
          <p:cNvSpPr/>
          <p:nvPr/>
        </p:nvSpPr>
        <p:spPr>
          <a:xfrm>
            <a:off x="491146" y="1718262"/>
            <a:ext cx="432000" cy="432000"/>
          </a:xfrm>
          <a:prstGeom prst="ellipse">
            <a:avLst/>
          </a:prstGeom>
          <a:solidFill>
            <a:schemeClr val="bg2">
              <a:lumMod val="20000"/>
              <a:lumOff val="80000"/>
            </a:schemeClr>
          </a:solidFill>
          <a:ln w="28575">
            <a:solidFill>
              <a:schemeClr val="bg1"/>
            </a:solidFill>
          </a:ln>
        </p:spPr>
        <p:txBody>
          <a:bodyPr wrap="none" lIns="90000" rtlCol="0" anchor="ctr">
            <a:noAutofit/>
          </a:bodyPr>
          <a:lstStyle/>
          <a:p>
            <a:pPr algn="ctr"/>
            <a:r>
              <a:rPr lang="en-US" sz="2400" b="1">
                <a:solidFill>
                  <a:schemeClr val="bg1"/>
                </a:solidFill>
              </a:rPr>
              <a:t>1</a:t>
            </a:r>
            <a:endParaRPr lang="en-US" sz="2400" b="1" dirty="0">
              <a:solidFill>
                <a:schemeClr val="bg1"/>
              </a:solidFill>
            </a:endParaRPr>
          </a:p>
        </p:txBody>
      </p:sp>
      <p:sp>
        <p:nvSpPr>
          <p:cNvPr id="11" name="TextBox 10"/>
          <p:cNvSpPr txBox="1"/>
          <p:nvPr/>
        </p:nvSpPr>
        <p:spPr>
          <a:xfrm>
            <a:off x="682820" y="3432017"/>
            <a:ext cx="4879769" cy="432000"/>
          </a:xfrm>
          <a:prstGeom prst="rect">
            <a:avLst/>
          </a:prstGeom>
          <a:gradFill>
            <a:gsLst>
              <a:gs pos="97345">
                <a:srgbClr val="FFFFFF">
                  <a:alpha val="83137"/>
                </a:srgbClr>
              </a:gs>
              <a:gs pos="0">
                <a:srgbClr val="FFFFFF">
                  <a:alpha val="0"/>
                </a:srgbClr>
              </a:gs>
              <a:gs pos="19000">
                <a:srgbClr val="FFFFFF">
                  <a:alpha val="45882"/>
                </a:srgbClr>
              </a:gs>
              <a:gs pos="54000">
                <a:srgbClr val="FFFFFF">
                  <a:alpha val="65098"/>
                </a:srgbClr>
              </a:gs>
            </a:gsLst>
            <a:lin ang="9600000" scaled="0"/>
          </a:gradFill>
        </p:spPr>
        <p:txBody>
          <a:bodyPr wrap="none" lIns="396000" rtlCol="0" anchor="ctr">
            <a:noAutofit/>
          </a:bodyPr>
          <a:lstStyle>
            <a:defPPr>
              <a:defRPr lang="en-US"/>
            </a:defPPr>
            <a:lvl1pPr>
              <a:defRPr sz="1600">
                <a:solidFill>
                  <a:schemeClr val="bg2">
                    <a:lumMod val="75000"/>
                  </a:schemeClr>
                </a:solidFill>
                <a:latin typeface="Nokia Pure Headline Light" panose="020B0304040602060303" pitchFamily="34" charset="0"/>
              </a:defRPr>
            </a:lvl1pPr>
          </a:lstStyle>
          <a:p>
            <a:r>
              <a:rPr lang="en-US" dirty="0"/>
              <a:t>Summary</a:t>
            </a:r>
          </a:p>
        </p:txBody>
      </p:sp>
      <p:sp>
        <p:nvSpPr>
          <p:cNvPr id="12" name="Oval 11"/>
          <p:cNvSpPr/>
          <p:nvPr/>
        </p:nvSpPr>
        <p:spPr>
          <a:xfrm>
            <a:off x="492906" y="3422707"/>
            <a:ext cx="432000" cy="432000"/>
          </a:xfrm>
          <a:prstGeom prst="ellipse">
            <a:avLst/>
          </a:prstGeom>
          <a:solidFill>
            <a:schemeClr val="bg2">
              <a:lumMod val="20000"/>
              <a:lumOff val="80000"/>
            </a:schemeClr>
          </a:solidFill>
          <a:ln w="28575">
            <a:solidFill>
              <a:schemeClr val="bg1"/>
            </a:solidFill>
          </a:ln>
        </p:spPr>
        <p:txBody>
          <a:bodyPr wrap="none" lIns="90000" rtlCol="0" anchor="ctr">
            <a:noAutofit/>
          </a:bodyPr>
          <a:lstStyle/>
          <a:p>
            <a:pPr algn="ctr"/>
            <a:r>
              <a:rPr lang="en-US" sz="2400" b="1" dirty="0">
                <a:solidFill>
                  <a:schemeClr val="bg1"/>
                </a:solidFill>
                <a:latin typeface="+mn-lt"/>
              </a:rPr>
              <a:t>4</a:t>
            </a:r>
          </a:p>
        </p:txBody>
      </p:sp>
    </p:spTree>
    <p:extLst>
      <p:ext uri="{BB962C8B-B14F-4D97-AF65-F5344CB8AC3E}">
        <p14:creationId xmlns:p14="http://schemas.microsoft.com/office/powerpoint/2010/main" val="37994926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587" name="think-cell Slide" r:id="rId5" imgW="270" imgH="270" progId="TCLayout.ActiveDocument.1">
                  <p:embed/>
                </p:oleObj>
              </mc:Choice>
              <mc:Fallback>
                <p:oleObj name="think-cell Slide" r:id="rId5" imgW="270" imgH="270" progId="TCLayout.ActiveDocument.1">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idx="4294967295"/>
          </p:nvPr>
        </p:nvSpPr>
        <p:spPr>
          <a:xfrm>
            <a:off x="431801" y="279401"/>
            <a:ext cx="8308975" cy="309563"/>
          </a:xfrm>
        </p:spPr>
        <p:txBody>
          <a:bodyPr/>
          <a:lstStyle/>
          <a:p>
            <a:r>
              <a:rPr lang="en-US" sz="1800" b="1" dirty="0">
                <a:solidFill>
                  <a:schemeClr val="bg1"/>
                </a:solidFill>
              </a:rPr>
              <a:t>DevOps</a:t>
            </a:r>
          </a:p>
        </p:txBody>
      </p:sp>
      <p:grpSp>
        <p:nvGrpSpPr>
          <p:cNvPr id="4" name="Group 3">
            <a:extLst>
              <a:ext uri="{FF2B5EF4-FFF2-40B4-BE49-F238E27FC236}">
                <a16:creationId xmlns:a16="http://schemas.microsoft.com/office/drawing/2014/main" id="{E47C1380-F86D-4E48-9A81-5A29046EF1E9}"/>
              </a:ext>
            </a:extLst>
          </p:cNvPr>
          <p:cNvGrpSpPr/>
          <p:nvPr/>
        </p:nvGrpSpPr>
        <p:grpSpPr>
          <a:xfrm>
            <a:off x="205366" y="221234"/>
            <a:ext cx="8749795" cy="4863743"/>
            <a:chOff x="672501" y="486482"/>
            <a:chExt cx="7789856" cy="4330142"/>
          </a:xfrm>
        </p:grpSpPr>
        <p:pic>
          <p:nvPicPr>
            <p:cNvPr id="13" name="Picture 1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72501" y="486482"/>
              <a:ext cx="7789856" cy="4330142"/>
            </a:xfrm>
            <a:prstGeom prst="ellipse">
              <a:avLst/>
            </a:prstGeom>
          </p:spPr>
        </p:pic>
        <p:pic>
          <p:nvPicPr>
            <p:cNvPr id="14" name="Picture 13"/>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272742" y="1166159"/>
              <a:ext cx="3125586" cy="3125586"/>
            </a:xfrm>
            <a:prstGeom prst="ellipse">
              <a:avLst/>
            </a:prstGeom>
          </p:spPr>
        </p:pic>
        <p:pic>
          <p:nvPicPr>
            <p:cNvPr id="15" name="Picture 14"/>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521229" y="1091524"/>
              <a:ext cx="3150524" cy="3200222"/>
            </a:xfrm>
            <a:prstGeom prst="ellipse">
              <a:avLst/>
            </a:prstGeom>
          </p:spPr>
        </p:pic>
      </p:grpSp>
      <p:sp>
        <p:nvSpPr>
          <p:cNvPr id="5" name="Footer Placeholder 4">
            <a:extLst>
              <a:ext uri="{FF2B5EF4-FFF2-40B4-BE49-F238E27FC236}">
                <a16:creationId xmlns:a16="http://schemas.microsoft.com/office/drawing/2014/main" id="{85CA6062-C7FB-44B1-8EE7-5FF9E1807D2D}"/>
              </a:ext>
            </a:extLst>
          </p:cNvPr>
          <p:cNvSpPr>
            <a:spLocks noGrp="1"/>
          </p:cNvSpPr>
          <p:nvPr>
            <p:ph type="ftr" sz="quarter" idx="11"/>
          </p:nvPr>
        </p:nvSpPr>
        <p:spPr/>
        <p:txBody>
          <a:bodyPr/>
          <a:lstStyle/>
          <a:p>
            <a:r>
              <a:rPr lang="en-US">
                <a:solidFill>
                  <a:srgbClr val="001135"/>
                </a:solidFill>
              </a:rPr>
              <a:t>Public</a:t>
            </a:r>
          </a:p>
        </p:txBody>
      </p:sp>
    </p:spTree>
    <p:extLst>
      <p:ext uri="{BB962C8B-B14F-4D97-AF65-F5344CB8AC3E}">
        <p14:creationId xmlns:p14="http://schemas.microsoft.com/office/powerpoint/2010/main" val="27834968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46" name="Textplatzhalter 145"/>
          <p:cNvSpPr>
            <a:spLocks noGrp="1"/>
          </p:cNvSpPr>
          <p:nvPr>
            <p:ph type="body" sz="quarter" idx="11"/>
          </p:nvPr>
        </p:nvSpPr>
        <p:spPr>
          <a:xfrm>
            <a:off x="417600" y="280800"/>
            <a:ext cx="8553218" cy="309600"/>
          </a:xfrm>
        </p:spPr>
        <p:txBody>
          <a:bodyPr/>
          <a:lstStyle/>
          <a:p>
            <a:r>
              <a:rPr lang="en-US" sz="1800" b="1" dirty="0"/>
              <a:t>DevOps – Automated everything</a:t>
            </a:r>
          </a:p>
          <a:p>
            <a:r>
              <a:rPr lang="en-US" sz="1800" dirty="0">
                <a:solidFill>
                  <a:schemeClr val="bg2"/>
                </a:solidFill>
                <a:ea typeface="ヒラギノ角ゴ Pro W3" charset="0"/>
                <a:cs typeface="ヒラギノ角ゴ Pro W3" charset="0"/>
              </a:rPr>
              <a:t>But how Exploratory Testing and Bug Hunting fits in then?</a:t>
            </a:r>
          </a:p>
        </p:txBody>
      </p:sp>
      <p:sp>
        <p:nvSpPr>
          <p:cNvPr id="256" name="Rechteck 158"/>
          <p:cNvSpPr/>
          <p:nvPr/>
        </p:nvSpPr>
        <p:spPr>
          <a:xfrm>
            <a:off x="3222036" y="3979187"/>
            <a:ext cx="2700000" cy="612000"/>
          </a:xfrm>
          <a:prstGeom prst="rect">
            <a:avLst/>
          </a:prstGeom>
          <a:solidFill>
            <a:schemeClr val="accent1">
              <a:lumMod val="20000"/>
              <a:lumOff val="80000"/>
            </a:schemeClr>
          </a:solidFill>
          <a:ln w="12700" cap="flat" cmpd="sng" algn="ctr">
            <a:noFill/>
            <a:prstDash val="solid"/>
            <a:miter lim="800000"/>
          </a:ln>
          <a:effectLst/>
        </p:spPr>
        <p:txBody>
          <a:bodyPr rot="0" spcFirstLastPara="0" vertOverflow="overflow" horzOverflow="overflow" vert="horz" wrap="square" lIns="72000" tIns="72000" rIns="108000" bIns="36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9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001135"/>
                </a:solidFill>
                <a:effectLst/>
                <a:uLnTx/>
                <a:uFillTx/>
                <a:latin typeface="Nokia Pure Headline Light"/>
                <a:ea typeface=""/>
                <a:cs typeface=""/>
              </a:rPr>
              <a:t>Faster time </a:t>
            </a:r>
          </a:p>
          <a:p>
            <a:pPr marL="0" marR="0" lvl="0" indent="0" algn="l" defTabSz="914378" rtl="0" eaLnBrk="1" fontAlgn="auto" latinLnBrk="0" hangingPunct="1">
              <a:lnSpc>
                <a:spcPct val="9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001135"/>
                </a:solidFill>
                <a:effectLst/>
                <a:uLnTx/>
                <a:uFillTx/>
                <a:latin typeface="Nokia Pure Headline Light"/>
                <a:ea typeface=""/>
                <a:cs typeface=""/>
              </a:rPr>
              <a:t>to market</a:t>
            </a:r>
          </a:p>
        </p:txBody>
      </p:sp>
      <p:sp>
        <p:nvSpPr>
          <p:cNvPr id="257" name="Rechteck 137"/>
          <p:cNvSpPr/>
          <p:nvPr/>
        </p:nvSpPr>
        <p:spPr>
          <a:xfrm>
            <a:off x="431799" y="3979187"/>
            <a:ext cx="2700000" cy="612000"/>
          </a:xfrm>
          <a:prstGeom prst="rect">
            <a:avLst/>
          </a:prstGeom>
          <a:solidFill>
            <a:schemeClr val="accent1">
              <a:lumMod val="20000"/>
              <a:lumOff val="80000"/>
            </a:schemeClr>
          </a:solidFill>
          <a:ln w="12700" cap="flat" cmpd="sng" algn="ctr">
            <a:noFill/>
            <a:prstDash val="solid"/>
            <a:miter lim="800000"/>
          </a:ln>
          <a:effectLst/>
        </p:spPr>
        <p:txBody>
          <a:bodyPr rot="0" spcFirstLastPara="0" vertOverflow="overflow" horzOverflow="overflow" vert="horz" wrap="square" lIns="72000" tIns="72000" rIns="108000" bIns="36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9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001135"/>
                </a:solidFill>
                <a:effectLst/>
                <a:uLnTx/>
                <a:uFillTx/>
                <a:latin typeface="Nokia Pure Headline Light"/>
                <a:ea typeface=""/>
                <a:cs typeface=""/>
              </a:rPr>
              <a:t>Fewer </a:t>
            </a:r>
            <a:br>
              <a:rPr kumimoji="0" lang="en-GB" sz="1600" b="0" i="0" u="none" strike="noStrike" kern="0" cap="none" spc="0" normalizeH="0" baseline="0" noProof="0" dirty="0">
                <a:ln>
                  <a:noFill/>
                </a:ln>
                <a:solidFill>
                  <a:srgbClr val="001135"/>
                </a:solidFill>
                <a:effectLst/>
                <a:uLnTx/>
                <a:uFillTx/>
                <a:latin typeface="Nokia Pure Headline Light"/>
                <a:ea typeface=""/>
                <a:cs typeface=""/>
              </a:rPr>
            </a:br>
            <a:r>
              <a:rPr kumimoji="0" lang="en-GB" sz="1600" b="0" i="0" u="none" strike="noStrike" kern="0" cap="none" spc="0" normalizeH="0" baseline="0" noProof="0" dirty="0">
                <a:ln>
                  <a:noFill/>
                </a:ln>
                <a:solidFill>
                  <a:srgbClr val="001135"/>
                </a:solidFill>
                <a:effectLst/>
                <a:uLnTx/>
                <a:uFillTx/>
                <a:latin typeface="Nokia Pure Headline Light"/>
                <a:ea typeface=""/>
                <a:cs typeface=""/>
              </a:rPr>
              <a:t>failures</a:t>
            </a:r>
          </a:p>
        </p:txBody>
      </p:sp>
      <p:sp>
        <p:nvSpPr>
          <p:cNvPr id="258" name="Rechteck 72"/>
          <p:cNvSpPr/>
          <p:nvPr/>
        </p:nvSpPr>
        <p:spPr>
          <a:xfrm>
            <a:off x="7020272" y="1376727"/>
            <a:ext cx="1692000" cy="540000"/>
          </a:xfrm>
          <a:prstGeom prst="rect">
            <a:avLst/>
          </a:prstGeom>
          <a:solidFill>
            <a:schemeClr val="tx2"/>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err="1">
                <a:ln>
                  <a:noFill/>
                </a:ln>
                <a:solidFill>
                  <a:prstClr val="white"/>
                </a:solidFill>
                <a:effectLst/>
                <a:uLnTx/>
                <a:uFillTx/>
                <a:latin typeface="Nokia Pure Headline Light"/>
                <a:ea typeface=""/>
                <a:cs typeface=""/>
              </a:rPr>
              <a:t>Microservices</a:t>
            </a:r>
            <a:r>
              <a:rPr kumimoji="0" lang="en-US" sz="1100" b="0" i="0" u="none" strike="noStrike" kern="0" cap="none" spc="0" normalizeH="0" baseline="0" noProof="0" dirty="0">
                <a:ln>
                  <a:noFill/>
                </a:ln>
                <a:solidFill>
                  <a:prstClr val="white"/>
                </a:solidFill>
                <a:effectLst/>
                <a:uLnTx/>
                <a:uFillTx/>
                <a:latin typeface="Nokia Pure Headline Light"/>
                <a:ea typeface=""/>
                <a:cs typeface=""/>
              </a:rPr>
              <a:t> </a:t>
            </a:r>
            <a:br>
              <a:rPr kumimoji="0" lang="en-US" sz="1100" b="0" i="0" u="none" strike="noStrike" kern="0" cap="none" spc="0" normalizeH="0" baseline="0" noProof="0" dirty="0">
                <a:ln>
                  <a:noFill/>
                </a:ln>
                <a:solidFill>
                  <a:prstClr val="white"/>
                </a:solidFill>
                <a:effectLst/>
                <a:uLnTx/>
                <a:uFillTx/>
                <a:latin typeface="Nokia Pure Headline Light"/>
                <a:ea typeface=""/>
                <a:cs typeface=""/>
              </a:rPr>
            </a:br>
            <a:r>
              <a:rPr kumimoji="0" lang="en-US" sz="1100" b="0" i="0" u="none" strike="noStrike" kern="0" cap="none" spc="0" normalizeH="0" baseline="0" noProof="0" dirty="0">
                <a:ln>
                  <a:noFill/>
                </a:ln>
                <a:solidFill>
                  <a:prstClr val="white"/>
                </a:solidFill>
                <a:effectLst/>
                <a:uLnTx/>
                <a:uFillTx/>
                <a:latin typeface="Nokia Pure Headline Light"/>
                <a:ea typeface=""/>
                <a:cs typeface=""/>
              </a:rPr>
              <a:t>&amp; containers</a:t>
            </a:r>
          </a:p>
        </p:txBody>
      </p:sp>
      <p:sp>
        <p:nvSpPr>
          <p:cNvPr id="259" name="Rechteck 74"/>
          <p:cNvSpPr/>
          <p:nvPr/>
        </p:nvSpPr>
        <p:spPr>
          <a:xfrm>
            <a:off x="7020272" y="2672727"/>
            <a:ext cx="1692000" cy="540000"/>
          </a:xfrm>
          <a:prstGeom prst="rect">
            <a:avLst/>
          </a:prstGeom>
          <a:solidFill>
            <a:schemeClr val="tx2"/>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Nokia Pure Headline Light"/>
                <a:ea typeface=""/>
                <a:cs typeface=""/>
              </a:rPr>
              <a:t>Continuous </a:t>
            </a:r>
            <a:br>
              <a:rPr kumimoji="0" lang="en-US" sz="1100" b="0" i="0" u="none" strike="noStrike" kern="0" cap="none" spc="0" normalizeH="0" baseline="0" noProof="0" dirty="0">
                <a:ln>
                  <a:noFill/>
                </a:ln>
                <a:solidFill>
                  <a:prstClr val="white"/>
                </a:solidFill>
                <a:effectLst/>
                <a:uLnTx/>
                <a:uFillTx/>
                <a:latin typeface="Nokia Pure Headline Light"/>
                <a:ea typeface=""/>
                <a:cs typeface=""/>
              </a:rPr>
            </a:br>
            <a:r>
              <a:rPr kumimoji="0" lang="en-US" sz="1100" b="0" i="0" u="none" strike="noStrike" kern="0" cap="none" spc="0" normalizeH="0" baseline="0" noProof="0" dirty="0">
                <a:ln>
                  <a:noFill/>
                </a:ln>
                <a:solidFill>
                  <a:prstClr val="white"/>
                </a:solidFill>
                <a:effectLst/>
                <a:uLnTx/>
                <a:uFillTx/>
                <a:latin typeface="Nokia Pure Headline Light"/>
                <a:ea typeface=""/>
                <a:cs typeface=""/>
              </a:rPr>
              <a:t>SW delivery</a:t>
            </a:r>
          </a:p>
        </p:txBody>
      </p:sp>
      <p:sp>
        <p:nvSpPr>
          <p:cNvPr id="260" name="Rechteck 75"/>
          <p:cNvSpPr/>
          <p:nvPr/>
        </p:nvSpPr>
        <p:spPr>
          <a:xfrm>
            <a:off x="7020272" y="3320727"/>
            <a:ext cx="1692000" cy="540000"/>
          </a:xfrm>
          <a:prstGeom prst="rect">
            <a:avLst/>
          </a:prstGeom>
          <a:solidFill>
            <a:schemeClr val="tx2"/>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Nokia Pure Headline Light"/>
                <a:ea typeface=""/>
                <a:cs typeface=""/>
              </a:rPr>
              <a:t>Digital delivery:</a:t>
            </a:r>
          </a:p>
          <a:p>
            <a:pPr marL="0" marR="0" lvl="0" indent="0" algn="l" defTabSz="914378"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Nokia Pure Headline Light"/>
                <a:ea typeface=""/>
                <a:cs typeface=""/>
              </a:rPr>
              <a:t>Core </a:t>
            </a:r>
            <a:r>
              <a:rPr kumimoji="0" lang="en-US" sz="1100" b="0" i="0" u="none" strike="noStrike" kern="0" cap="none" spc="0" normalizeH="0" baseline="0" noProof="0" dirty="0" err="1">
                <a:ln>
                  <a:noFill/>
                </a:ln>
                <a:solidFill>
                  <a:prstClr val="white"/>
                </a:solidFill>
                <a:effectLst/>
                <a:uLnTx/>
                <a:uFillTx/>
                <a:latin typeface="Nokia Pure Headline Light"/>
                <a:ea typeface=""/>
                <a:cs typeface=""/>
              </a:rPr>
              <a:t>AppStore</a:t>
            </a:r>
            <a:endParaRPr kumimoji="0" lang="en-US" sz="1100" b="0" i="0" u="none" strike="noStrike" kern="0" cap="none" spc="0" normalizeH="0" baseline="0" noProof="0" dirty="0">
              <a:ln>
                <a:noFill/>
              </a:ln>
              <a:solidFill>
                <a:prstClr val="white"/>
              </a:solidFill>
              <a:effectLst/>
              <a:uLnTx/>
              <a:uFillTx/>
              <a:latin typeface="Nokia Pure Headline Light"/>
              <a:ea typeface=""/>
              <a:cs typeface=""/>
            </a:endParaRPr>
          </a:p>
        </p:txBody>
      </p:sp>
      <p:sp>
        <p:nvSpPr>
          <p:cNvPr id="264" name="Freihandform: Form 79"/>
          <p:cNvSpPr/>
          <p:nvPr/>
        </p:nvSpPr>
        <p:spPr>
          <a:xfrm>
            <a:off x="8078333" y="2260197"/>
            <a:ext cx="586096" cy="273768"/>
          </a:xfrm>
          <a:custGeom>
            <a:avLst/>
            <a:gdLst>
              <a:gd name="connsiteX0" fmla="*/ 2885151 w 4409314"/>
              <a:gd name="connsiteY0" fmla="*/ 1442420 h 2059610"/>
              <a:gd name="connsiteX1" fmla="*/ 2916912 w 4409314"/>
              <a:gd name="connsiteY1" fmla="*/ 1474181 h 2059610"/>
              <a:gd name="connsiteX2" fmla="*/ 3801523 w 4409314"/>
              <a:gd name="connsiteY2" fmla="*/ 1473119 h 2059610"/>
              <a:gd name="connsiteX3" fmla="*/ 3808160 w 4409314"/>
              <a:gd name="connsiteY3" fmla="*/ 1465823 h 2059610"/>
              <a:gd name="connsiteX4" fmla="*/ 3887601 w 4409314"/>
              <a:gd name="connsiteY4" fmla="*/ 1682986 h 2059610"/>
              <a:gd name="connsiteX5" fmla="*/ 4091154 w 4409314"/>
              <a:gd name="connsiteY5" fmla="*/ 1768698 h 2059610"/>
              <a:gd name="connsiteX6" fmla="*/ 4027034 w 4409314"/>
              <a:gd name="connsiteY6" fmla="*/ 1826689 h 2059610"/>
              <a:gd name="connsiteX7" fmla="*/ 2649104 w 4409314"/>
              <a:gd name="connsiteY7" fmla="*/ 1760210 h 2059610"/>
              <a:gd name="connsiteX8" fmla="*/ 2638344 w 4409314"/>
              <a:gd name="connsiteY8" fmla="*/ 1749451 h 2059610"/>
              <a:gd name="connsiteX9" fmla="*/ 2704570 w 4409314"/>
              <a:gd name="connsiteY9" fmla="*/ 1530797 h 2059610"/>
              <a:gd name="connsiteX10" fmla="*/ 1529222 w 4409314"/>
              <a:gd name="connsiteY10" fmla="*/ 1437362 h 2059610"/>
              <a:gd name="connsiteX11" fmla="*/ 1720139 w 4409314"/>
              <a:gd name="connsiteY11" fmla="*/ 1530797 h 2059610"/>
              <a:gd name="connsiteX12" fmla="*/ 1782786 w 4409314"/>
              <a:gd name="connsiteY12" fmla="*/ 1737635 h 2059610"/>
              <a:gd name="connsiteX13" fmla="*/ 1760211 w 4409314"/>
              <a:gd name="connsiteY13" fmla="*/ 1760210 h 2059610"/>
              <a:gd name="connsiteX14" fmla="*/ 553690 w 4409314"/>
              <a:gd name="connsiteY14" fmla="*/ 1940320 h 2059610"/>
              <a:gd name="connsiteX15" fmla="*/ 526294 w 4409314"/>
              <a:gd name="connsiteY15" fmla="*/ 1924077 h 2059610"/>
              <a:gd name="connsiteX16" fmla="*/ 705921 w 4409314"/>
              <a:gd name="connsiteY16" fmla="*/ 1774774 h 2059610"/>
              <a:gd name="connsiteX17" fmla="*/ 717886 w 4409314"/>
              <a:gd name="connsiteY17" fmla="*/ 1560416 h 2059610"/>
              <a:gd name="connsiteX18" fmla="*/ 759339 w 4409314"/>
              <a:gd name="connsiteY18" fmla="*/ 1584944 h 2059610"/>
              <a:gd name="connsiteX19" fmla="*/ 1492403 w 4409314"/>
              <a:gd name="connsiteY19" fmla="*/ 1474182 h 2059610"/>
              <a:gd name="connsiteX20" fmla="*/ 22992 w 4409314"/>
              <a:gd name="connsiteY20" fmla="*/ 813894 h 2059610"/>
              <a:gd name="connsiteX21" fmla="*/ 78015 w 4409314"/>
              <a:gd name="connsiteY21" fmla="*/ 846994 h 2059610"/>
              <a:gd name="connsiteX22" fmla="*/ 93133 w 4409314"/>
              <a:gd name="connsiteY22" fmla="*/ 854551 h 2059610"/>
              <a:gd name="connsiteX23" fmla="*/ 256998 w 4409314"/>
              <a:gd name="connsiteY23" fmla="*/ 954027 h 2059610"/>
              <a:gd name="connsiteX24" fmla="*/ 437118 w 4409314"/>
              <a:gd name="connsiteY24" fmla="*/ 905176 h 2059610"/>
              <a:gd name="connsiteX25" fmla="*/ 435358 w 4409314"/>
              <a:gd name="connsiteY25" fmla="*/ 911138 h 2059610"/>
              <a:gd name="connsiteX26" fmla="*/ 607792 w 4409314"/>
              <a:gd name="connsiteY26" fmla="*/ 1473119 h 2059610"/>
              <a:gd name="connsiteX27" fmla="*/ 655350 w 4409314"/>
              <a:gd name="connsiteY27" fmla="*/ 1516116 h 2059610"/>
              <a:gd name="connsiteX28" fmla="*/ 658306 w 4409314"/>
              <a:gd name="connsiteY28" fmla="*/ 1518291 h 2059610"/>
              <a:gd name="connsiteX29" fmla="*/ 645682 w 4409314"/>
              <a:gd name="connsiteY29" fmla="*/ 1744436 h 2059610"/>
              <a:gd name="connsiteX30" fmla="*/ 469833 w 4409314"/>
              <a:gd name="connsiteY30" fmla="*/ 1890600 h 2059610"/>
              <a:gd name="connsiteX31" fmla="*/ 465804 w 4409314"/>
              <a:gd name="connsiteY31" fmla="*/ 1888211 h 2059610"/>
              <a:gd name="connsiteX32" fmla="*/ 303853 w 4409314"/>
              <a:gd name="connsiteY32" fmla="*/ 1755757 h 2059610"/>
              <a:gd name="connsiteX33" fmla="*/ 18255 w 4409314"/>
              <a:gd name="connsiteY33" fmla="*/ 830029 h 2059610"/>
              <a:gd name="connsiteX34" fmla="*/ 4120481 w 4409314"/>
              <a:gd name="connsiteY34" fmla="*/ 311098 h 2059610"/>
              <a:gd name="connsiteX35" fmla="*/ 4180368 w 4409314"/>
              <a:gd name="connsiteY35" fmla="*/ 377396 h 2059610"/>
              <a:gd name="connsiteX36" fmla="*/ 4172236 w 4409314"/>
              <a:gd name="connsiteY36" fmla="*/ 1682389 h 2059610"/>
              <a:gd name="connsiteX37" fmla="*/ 4137129 w 4409314"/>
              <a:gd name="connsiteY37" fmla="*/ 1720963 h 2059610"/>
              <a:gd name="connsiteX38" fmla="*/ 3936420 w 4409314"/>
              <a:gd name="connsiteY38" fmla="*/ 1636449 h 2059610"/>
              <a:gd name="connsiteX39" fmla="*/ 3854367 w 4409314"/>
              <a:gd name="connsiteY39" fmla="*/ 1412145 h 2059610"/>
              <a:gd name="connsiteX40" fmla="*/ 3877448 w 4409314"/>
              <a:gd name="connsiteY40" fmla="*/ 1381384 h 2059610"/>
              <a:gd name="connsiteX41" fmla="*/ 3845469 w 4409314"/>
              <a:gd name="connsiteY41" fmla="*/ 635963 h 2059610"/>
              <a:gd name="connsiteX42" fmla="*/ 3814483 w 4409314"/>
              <a:gd name="connsiteY42" fmla="*/ 601673 h 2059610"/>
              <a:gd name="connsiteX43" fmla="*/ 4025702 w 4409314"/>
              <a:gd name="connsiteY43" fmla="*/ 527718 h 2059610"/>
              <a:gd name="connsiteX44" fmla="*/ 1581310 w 4409314"/>
              <a:gd name="connsiteY44" fmla="*/ 163990 h 2059610"/>
              <a:gd name="connsiteX45" fmla="*/ 1593808 w 4409314"/>
              <a:gd name="connsiteY45" fmla="*/ 171400 h 2059610"/>
              <a:gd name="connsiteX46" fmla="*/ 1755758 w 4409314"/>
              <a:gd name="connsiteY46" fmla="*/ 303853 h 2059610"/>
              <a:gd name="connsiteX47" fmla="*/ 2204657 w 4409314"/>
              <a:gd name="connsiteY47" fmla="*/ 752751 h 2059610"/>
              <a:gd name="connsiteX48" fmla="*/ 2653556 w 4409314"/>
              <a:gd name="connsiteY48" fmla="*/ 303853 h 2059610"/>
              <a:gd name="connsiteX49" fmla="*/ 2815507 w 4409314"/>
              <a:gd name="connsiteY49" fmla="*/ 171400 h 2059610"/>
              <a:gd name="connsiteX50" fmla="*/ 2825493 w 4409314"/>
              <a:gd name="connsiteY50" fmla="*/ 165479 h 2059610"/>
              <a:gd name="connsiteX51" fmla="*/ 2975440 w 4409314"/>
              <a:gd name="connsiteY51" fmla="*/ 293068 h 2059610"/>
              <a:gd name="connsiteX52" fmla="*/ 2985993 w 4409314"/>
              <a:gd name="connsiteY52" fmla="*/ 531522 h 2059610"/>
              <a:gd name="connsiteX53" fmla="*/ 2965533 w 4409314"/>
              <a:gd name="connsiteY53" fmla="*/ 546574 h 2059610"/>
              <a:gd name="connsiteX54" fmla="*/ 2917975 w 4409314"/>
              <a:gd name="connsiteY54" fmla="*/ 589571 h 2059610"/>
              <a:gd name="connsiteX55" fmla="*/ 2479725 w 4409314"/>
              <a:gd name="connsiteY55" fmla="*/ 1027820 h 2059610"/>
              <a:gd name="connsiteX56" fmla="*/ 2486163 w 4409314"/>
              <a:gd name="connsiteY56" fmla="*/ 1034258 h 2059610"/>
              <a:gd name="connsiteX57" fmla="*/ 2481576 w 4409314"/>
              <a:gd name="connsiteY57" fmla="*/ 1038845 h 2059610"/>
              <a:gd name="connsiteX58" fmla="*/ 2838929 w 4409314"/>
              <a:gd name="connsiteY58" fmla="*/ 1396198 h 2059610"/>
              <a:gd name="connsiteX59" fmla="*/ 2653197 w 4409314"/>
              <a:gd name="connsiteY59" fmla="*/ 1487096 h 2059610"/>
              <a:gd name="connsiteX60" fmla="*/ 2588754 w 4409314"/>
              <a:gd name="connsiteY60" fmla="*/ 1699861 h 2059610"/>
              <a:gd name="connsiteX61" fmla="*/ 2204657 w 4409314"/>
              <a:gd name="connsiteY61" fmla="*/ 1315764 h 2059610"/>
              <a:gd name="connsiteX62" fmla="*/ 1832376 w 4409314"/>
              <a:gd name="connsiteY62" fmla="*/ 1688045 h 2059610"/>
              <a:gd name="connsiteX63" fmla="*/ 1771512 w 4409314"/>
              <a:gd name="connsiteY63" fmla="*/ 1487096 h 2059610"/>
              <a:gd name="connsiteX64" fmla="*/ 1575445 w 4409314"/>
              <a:gd name="connsiteY64" fmla="*/ 1391140 h 2059610"/>
              <a:gd name="connsiteX65" fmla="*/ 1927739 w 4409314"/>
              <a:gd name="connsiteY65" fmla="*/ 1038845 h 2059610"/>
              <a:gd name="connsiteX66" fmla="*/ 1923151 w 4409314"/>
              <a:gd name="connsiteY66" fmla="*/ 1034258 h 2059610"/>
              <a:gd name="connsiteX67" fmla="*/ 1929589 w 4409314"/>
              <a:gd name="connsiteY67" fmla="*/ 1027820 h 2059610"/>
              <a:gd name="connsiteX68" fmla="*/ 1491340 w 4409314"/>
              <a:gd name="connsiteY68" fmla="*/ 589571 h 2059610"/>
              <a:gd name="connsiteX69" fmla="*/ 1443782 w 4409314"/>
              <a:gd name="connsiteY69" fmla="*/ 546574 h 2059610"/>
              <a:gd name="connsiteX70" fmla="*/ 1407309 w 4409314"/>
              <a:gd name="connsiteY70" fmla="*/ 519740 h 2059610"/>
              <a:gd name="connsiteX71" fmla="*/ 1421138 w 4409314"/>
              <a:gd name="connsiteY71" fmla="*/ 295547 h 2059610"/>
              <a:gd name="connsiteX72" fmla="*/ 3382657 w 4409314"/>
              <a:gd name="connsiteY72" fmla="*/ 5 h 2059610"/>
              <a:gd name="connsiteX73" fmla="*/ 4031919 w 4409314"/>
              <a:gd name="connsiteY73" fmla="*/ 228947 h 2059610"/>
              <a:gd name="connsiteX74" fmla="*/ 4072780 w 4409314"/>
              <a:gd name="connsiteY74" fmla="*/ 265857 h 2059610"/>
              <a:gd name="connsiteX75" fmla="*/ 3979847 w 4409314"/>
              <a:gd name="connsiteY75" fmla="*/ 478257 h 2059610"/>
              <a:gd name="connsiteX76" fmla="*/ 3764153 w 4409314"/>
              <a:gd name="connsiteY76" fmla="*/ 553778 h 2059610"/>
              <a:gd name="connsiteX77" fmla="*/ 3755131 w 4409314"/>
              <a:gd name="connsiteY77" fmla="*/ 545625 h 2059610"/>
              <a:gd name="connsiteX78" fmla="*/ 3360500 w 4409314"/>
              <a:gd name="connsiteY78" fmla="*/ 405830 h 2059610"/>
              <a:gd name="connsiteX79" fmla="*/ 3069522 w 4409314"/>
              <a:gd name="connsiteY79" fmla="*/ 477746 h 2059610"/>
              <a:gd name="connsiteX80" fmla="*/ 3046122 w 4409314"/>
              <a:gd name="connsiteY80" fmla="*/ 491592 h 2059610"/>
              <a:gd name="connsiteX81" fmla="*/ 3036025 w 4409314"/>
              <a:gd name="connsiteY81" fmla="*/ 263427 h 2059610"/>
              <a:gd name="connsiteX82" fmla="*/ 2881727 w 4409314"/>
              <a:gd name="connsiteY82" fmla="*/ 132137 h 2059610"/>
              <a:gd name="connsiteX83" fmla="*/ 2903394 w 4409314"/>
              <a:gd name="connsiteY83" fmla="*/ 119290 h 2059610"/>
              <a:gd name="connsiteX84" fmla="*/ 3382657 w 4409314"/>
              <a:gd name="connsiteY84" fmla="*/ 5 h 2059610"/>
              <a:gd name="connsiteX85" fmla="*/ 1026658 w 4409314"/>
              <a:gd name="connsiteY85" fmla="*/ 5 h 2059610"/>
              <a:gd name="connsiteX86" fmla="*/ 1505921 w 4409314"/>
              <a:gd name="connsiteY86" fmla="*/ 119290 h 2059610"/>
              <a:gd name="connsiteX87" fmla="*/ 1524730 w 4409314"/>
              <a:gd name="connsiteY87" fmla="*/ 130442 h 2059610"/>
              <a:gd name="connsiteX88" fmla="*/ 1361078 w 4409314"/>
              <a:gd name="connsiteY88" fmla="*/ 264858 h 2059610"/>
              <a:gd name="connsiteX89" fmla="*/ 1347659 w 4409314"/>
              <a:gd name="connsiteY89" fmla="*/ 482401 h 2059610"/>
              <a:gd name="connsiteX90" fmla="*/ 1339793 w 4409314"/>
              <a:gd name="connsiteY90" fmla="*/ 477746 h 2059610"/>
              <a:gd name="connsiteX91" fmla="*/ 1048814 w 4409314"/>
              <a:gd name="connsiteY91" fmla="*/ 405830 h 2059610"/>
              <a:gd name="connsiteX92" fmla="*/ 606728 w 4409314"/>
              <a:gd name="connsiteY92" fmla="*/ 588508 h 2059610"/>
              <a:gd name="connsiteX93" fmla="*/ 469570 w 4409314"/>
              <a:gd name="connsiteY93" fmla="*/ 795267 h 2059610"/>
              <a:gd name="connsiteX94" fmla="*/ 457682 w 4409314"/>
              <a:gd name="connsiteY94" fmla="*/ 835530 h 2059610"/>
              <a:gd name="connsiteX95" fmla="*/ 266806 w 4409314"/>
              <a:gd name="connsiteY95" fmla="*/ 887298 h 2059610"/>
              <a:gd name="connsiteX96" fmla="*/ 44882 w 4409314"/>
              <a:gd name="connsiteY96" fmla="*/ 749174 h 2059610"/>
              <a:gd name="connsiteX97" fmla="*/ 44127 w 4409314"/>
              <a:gd name="connsiteY97" fmla="*/ 751686 h 2059610"/>
              <a:gd name="connsiteX98" fmla="*/ 41683 w 4409314"/>
              <a:gd name="connsiteY98" fmla="*/ 750225 h 2059610"/>
              <a:gd name="connsiteX99" fmla="*/ 74226 w 4409314"/>
              <a:gd name="connsiteY99" fmla="*/ 639373 h 2059610"/>
              <a:gd name="connsiteX100" fmla="*/ 299400 w 4409314"/>
              <a:gd name="connsiteY100" fmla="*/ 299400 h 2059610"/>
              <a:gd name="connsiteX101" fmla="*/ 1026658 w 4409314"/>
              <a:gd name="connsiteY101" fmla="*/ 5 h 2059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409314" h="2059610">
                <a:moveTo>
                  <a:pt x="2885151" y="1442420"/>
                </a:moveTo>
                <a:lnTo>
                  <a:pt x="2916912" y="1474181"/>
                </a:lnTo>
                <a:cubicBezTo>
                  <a:pt x="3160897" y="1718166"/>
                  <a:pt x="3556951" y="1717691"/>
                  <a:pt x="3801523" y="1473119"/>
                </a:cubicBezTo>
                <a:lnTo>
                  <a:pt x="3808160" y="1465823"/>
                </a:lnTo>
                <a:lnTo>
                  <a:pt x="3887601" y="1682986"/>
                </a:lnTo>
                <a:lnTo>
                  <a:pt x="4091154" y="1768698"/>
                </a:lnTo>
                <a:lnTo>
                  <a:pt x="4027034" y="1826689"/>
                </a:lnTo>
                <a:cubicBezTo>
                  <a:pt x="3621547" y="2157825"/>
                  <a:pt x="3024978" y="2136084"/>
                  <a:pt x="2649104" y="1760210"/>
                </a:cubicBezTo>
                <a:lnTo>
                  <a:pt x="2638344" y="1749451"/>
                </a:lnTo>
                <a:lnTo>
                  <a:pt x="2704570" y="1530797"/>
                </a:lnTo>
                <a:close/>
                <a:moveTo>
                  <a:pt x="1529222" y="1437362"/>
                </a:moveTo>
                <a:lnTo>
                  <a:pt x="1720139" y="1530797"/>
                </a:lnTo>
                <a:lnTo>
                  <a:pt x="1782786" y="1737635"/>
                </a:lnTo>
                <a:lnTo>
                  <a:pt x="1760211" y="1760210"/>
                </a:lnTo>
                <a:cubicBezTo>
                  <a:pt x="1434453" y="2085968"/>
                  <a:pt x="942930" y="2145732"/>
                  <a:pt x="553690" y="1940320"/>
                </a:cubicBezTo>
                <a:lnTo>
                  <a:pt x="526294" y="1924077"/>
                </a:lnTo>
                <a:lnTo>
                  <a:pt x="705921" y="1774774"/>
                </a:lnTo>
                <a:lnTo>
                  <a:pt x="717886" y="1560416"/>
                </a:lnTo>
                <a:lnTo>
                  <a:pt x="759339" y="1584944"/>
                </a:lnTo>
                <a:cubicBezTo>
                  <a:pt x="995538" y="1709275"/>
                  <a:pt x="1294165" y="1672420"/>
                  <a:pt x="1492403" y="1474182"/>
                </a:cubicBezTo>
                <a:close/>
                <a:moveTo>
                  <a:pt x="22992" y="813894"/>
                </a:moveTo>
                <a:lnTo>
                  <a:pt x="78015" y="846994"/>
                </a:lnTo>
                <a:lnTo>
                  <a:pt x="93133" y="854551"/>
                </a:lnTo>
                <a:lnTo>
                  <a:pt x="256998" y="954027"/>
                </a:lnTo>
                <a:lnTo>
                  <a:pt x="437118" y="905176"/>
                </a:lnTo>
                <a:lnTo>
                  <a:pt x="435358" y="911138"/>
                </a:lnTo>
                <a:cubicBezTo>
                  <a:pt x="397427" y="1108231"/>
                  <a:pt x="454934" y="1320261"/>
                  <a:pt x="607792" y="1473119"/>
                </a:cubicBezTo>
                <a:cubicBezTo>
                  <a:pt x="623078" y="1488405"/>
                  <a:pt x="638955" y="1502737"/>
                  <a:pt x="655350" y="1516116"/>
                </a:cubicBezTo>
                <a:lnTo>
                  <a:pt x="658306" y="1518291"/>
                </a:lnTo>
                <a:lnTo>
                  <a:pt x="645682" y="1744436"/>
                </a:lnTo>
                <a:lnTo>
                  <a:pt x="469833" y="1890600"/>
                </a:lnTo>
                <a:lnTo>
                  <a:pt x="465804" y="1888211"/>
                </a:lnTo>
                <a:cubicBezTo>
                  <a:pt x="408586" y="1850334"/>
                  <a:pt x="354277" y="1806181"/>
                  <a:pt x="303853" y="1755757"/>
                </a:cubicBezTo>
                <a:cubicBezTo>
                  <a:pt x="51733" y="1503638"/>
                  <a:pt x="-43591" y="1154392"/>
                  <a:pt x="18255" y="830029"/>
                </a:cubicBezTo>
                <a:close/>
                <a:moveTo>
                  <a:pt x="4120481" y="311098"/>
                </a:moveTo>
                <a:lnTo>
                  <a:pt x="4180368" y="377396"/>
                </a:lnTo>
                <a:cubicBezTo>
                  <a:pt x="4488488" y="755649"/>
                  <a:pt x="4485432" y="1303744"/>
                  <a:pt x="4172236" y="1682389"/>
                </a:cubicBezTo>
                <a:lnTo>
                  <a:pt x="4137129" y="1720963"/>
                </a:lnTo>
                <a:lnTo>
                  <a:pt x="3936420" y="1636449"/>
                </a:lnTo>
                <a:lnTo>
                  <a:pt x="3854367" y="1412145"/>
                </a:lnTo>
                <a:lnTo>
                  <a:pt x="3877448" y="1381384"/>
                </a:lnTo>
                <a:cubicBezTo>
                  <a:pt x="4031140" y="1155054"/>
                  <a:pt x="4020547" y="850727"/>
                  <a:pt x="3845469" y="635963"/>
                </a:cubicBezTo>
                <a:lnTo>
                  <a:pt x="3814483" y="601673"/>
                </a:lnTo>
                <a:lnTo>
                  <a:pt x="4025702" y="527718"/>
                </a:lnTo>
                <a:close/>
                <a:moveTo>
                  <a:pt x="1581310" y="163990"/>
                </a:moveTo>
                <a:lnTo>
                  <a:pt x="1593808" y="171400"/>
                </a:lnTo>
                <a:cubicBezTo>
                  <a:pt x="1651025" y="209277"/>
                  <a:pt x="1705334" y="253429"/>
                  <a:pt x="1755758" y="303853"/>
                </a:cubicBezTo>
                <a:lnTo>
                  <a:pt x="2204657" y="752751"/>
                </a:lnTo>
                <a:lnTo>
                  <a:pt x="2653556" y="303853"/>
                </a:lnTo>
                <a:cubicBezTo>
                  <a:pt x="2703980" y="253429"/>
                  <a:pt x="2758289" y="209277"/>
                  <a:pt x="2815507" y="171400"/>
                </a:cubicBezTo>
                <a:lnTo>
                  <a:pt x="2825493" y="165479"/>
                </a:lnTo>
                <a:lnTo>
                  <a:pt x="2975440" y="293068"/>
                </a:lnTo>
                <a:lnTo>
                  <a:pt x="2985993" y="531522"/>
                </a:lnTo>
                <a:lnTo>
                  <a:pt x="2965533" y="546574"/>
                </a:lnTo>
                <a:cubicBezTo>
                  <a:pt x="2949138" y="559953"/>
                  <a:pt x="2933261" y="574285"/>
                  <a:pt x="2917975" y="589571"/>
                </a:cubicBezTo>
                <a:lnTo>
                  <a:pt x="2479725" y="1027820"/>
                </a:lnTo>
                <a:lnTo>
                  <a:pt x="2486163" y="1034258"/>
                </a:lnTo>
                <a:lnTo>
                  <a:pt x="2481576" y="1038845"/>
                </a:lnTo>
                <a:lnTo>
                  <a:pt x="2838929" y="1396198"/>
                </a:lnTo>
                <a:lnTo>
                  <a:pt x="2653197" y="1487096"/>
                </a:lnTo>
                <a:lnTo>
                  <a:pt x="2588754" y="1699861"/>
                </a:lnTo>
                <a:lnTo>
                  <a:pt x="2204657" y="1315764"/>
                </a:lnTo>
                <a:lnTo>
                  <a:pt x="1832376" y="1688045"/>
                </a:lnTo>
                <a:lnTo>
                  <a:pt x="1771512" y="1487096"/>
                </a:lnTo>
                <a:lnTo>
                  <a:pt x="1575445" y="1391140"/>
                </a:lnTo>
                <a:lnTo>
                  <a:pt x="1927739" y="1038845"/>
                </a:lnTo>
                <a:lnTo>
                  <a:pt x="1923151" y="1034258"/>
                </a:lnTo>
                <a:lnTo>
                  <a:pt x="1929589" y="1027820"/>
                </a:lnTo>
                <a:lnTo>
                  <a:pt x="1491340" y="589571"/>
                </a:lnTo>
                <a:cubicBezTo>
                  <a:pt x="1476054" y="574286"/>
                  <a:pt x="1460177" y="559953"/>
                  <a:pt x="1443782" y="546574"/>
                </a:cubicBezTo>
                <a:lnTo>
                  <a:pt x="1407309" y="519740"/>
                </a:lnTo>
                <a:lnTo>
                  <a:pt x="1421138" y="295547"/>
                </a:lnTo>
                <a:close/>
                <a:moveTo>
                  <a:pt x="3382657" y="5"/>
                </a:moveTo>
                <a:cubicBezTo>
                  <a:pt x="3613262" y="-700"/>
                  <a:pt x="3843633" y="75571"/>
                  <a:pt x="4031919" y="228947"/>
                </a:cubicBezTo>
                <a:lnTo>
                  <a:pt x="4072780" y="265857"/>
                </a:lnTo>
                <a:lnTo>
                  <a:pt x="3979847" y="478257"/>
                </a:lnTo>
                <a:lnTo>
                  <a:pt x="3764153" y="553778"/>
                </a:lnTo>
                <a:lnTo>
                  <a:pt x="3755131" y="545625"/>
                </a:lnTo>
                <a:cubicBezTo>
                  <a:pt x="3640590" y="452251"/>
                  <a:pt x="3500574" y="405662"/>
                  <a:pt x="3360500" y="405830"/>
                </a:cubicBezTo>
                <a:cubicBezTo>
                  <a:pt x="3260448" y="405951"/>
                  <a:pt x="3160368" y="429926"/>
                  <a:pt x="3069522" y="477746"/>
                </a:cubicBezTo>
                <a:lnTo>
                  <a:pt x="3046122" y="491592"/>
                </a:lnTo>
                <a:lnTo>
                  <a:pt x="3036025" y="263427"/>
                </a:lnTo>
                <a:lnTo>
                  <a:pt x="2881727" y="132137"/>
                </a:lnTo>
                <a:lnTo>
                  <a:pt x="2903394" y="119290"/>
                </a:lnTo>
                <a:cubicBezTo>
                  <a:pt x="3053101" y="40286"/>
                  <a:pt x="3217939" y="509"/>
                  <a:pt x="3382657" y="5"/>
                </a:cubicBezTo>
                <a:close/>
                <a:moveTo>
                  <a:pt x="1026658" y="5"/>
                </a:moveTo>
                <a:cubicBezTo>
                  <a:pt x="1191376" y="509"/>
                  <a:pt x="1356214" y="40286"/>
                  <a:pt x="1505921" y="119290"/>
                </a:cubicBezTo>
                <a:lnTo>
                  <a:pt x="1524730" y="130442"/>
                </a:lnTo>
                <a:lnTo>
                  <a:pt x="1361078" y="264858"/>
                </a:lnTo>
                <a:lnTo>
                  <a:pt x="1347659" y="482401"/>
                </a:lnTo>
                <a:lnTo>
                  <a:pt x="1339793" y="477746"/>
                </a:lnTo>
                <a:cubicBezTo>
                  <a:pt x="1248947" y="429926"/>
                  <a:pt x="1148866" y="405950"/>
                  <a:pt x="1048814" y="405830"/>
                </a:cubicBezTo>
                <a:cubicBezTo>
                  <a:pt x="888731" y="405638"/>
                  <a:pt x="728721" y="466516"/>
                  <a:pt x="606728" y="588508"/>
                </a:cubicBezTo>
                <a:cubicBezTo>
                  <a:pt x="545732" y="649504"/>
                  <a:pt x="500015" y="720004"/>
                  <a:pt x="469570" y="795267"/>
                </a:cubicBezTo>
                <a:lnTo>
                  <a:pt x="457682" y="835530"/>
                </a:lnTo>
                <a:lnTo>
                  <a:pt x="266806" y="887298"/>
                </a:lnTo>
                <a:lnTo>
                  <a:pt x="44882" y="749174"/>
                </a:lnTo>
                <a:lnTo>
                  <a:pt x="44127" y="751686"/>
                </a:lnTo>
                <a:lnTo>
                  <a:pt x="41683" y="750225"/>
                </a:lnTo>
                <a:lnTo>
                  <a:pt x="74226" y="639373"/>
                </a:lnTo>
                <a:cubicBezTo>
                  <a:pt x="124117" y="515560"/>
                  <a:pt x="199167" y="399633"/>
                  <a:pt x="299400" y="299400"/>
                </a:cubicBezTo>
                <a:cubicBezTo>
                  <a:pt x="499867" y="98934"/>
                  <a:pt x="763108" y="-801"/>
                  <a:pt x="1026658" y="5"/>
                </a:cubicBezTo>
                <a:close/>
              </a:path>
            </a:pathLst>
          </a:custGeom>
          <a:solidFill>
            <a:sysClr val="window" lastClr="FFFFFF">
              <a:alpha val="70000"/>
            </a:sysClr>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black"/>
              </a:solidFill>
              <a:effectLst/>
              <a:uLnTx/>
              <a:uFillTx/>
              <a:latin typeface="Nokia Pure Headline Light"/>
              <a:ea typeface="+mn-ea"/>
              <a:cs typeface="+mn-cs"/>
            </a:endParaRPr>
          </a:p>
        </p:txBody>
      </p:sp>
      <p:grpSp>
        <p:nvGrpSpPr>
          <p:cNvPr id="265" name="Gruppieren 9"/>
          <p:cNvGrpSpPr/>
          <p:nvPr/>
        </p:nvGrpSpPr>
        <p:grpSpPr>
          <a:xfrm>
            <a:off x="8273920" y="1461600"/>
            <a:ext cx="339380" cy="326654"/>
            <a:chOff x="8268782" y="1279199"/>
            <a:chExt cx="339380" cy="326654"/>
          </a:xfrm>
          <a:solidFill>
            <a:schemeClr val="accent3"/>
          </a:solidFill>
        </p:grpSpPr>
        <p:sp>
          <p:nvSpPr>
            <p:cNvPr id="266" name="Rechteck 1"/>
            <p:cNvSpPr/>
            <p:nvPr/>
          </p:nvSpPr>
          <p:spPr>
            <a:xfrm>
              <a:off x="8268782" y="1388888"/>
              <a:ext cx="155994" cy="155994"/>
            </a:xfrm>
            <a:prstGeom prst="rect">
              <a:avLst/>
            </a:prstGeom>
            <a:grpFill/>
            <a:ln w="6350" cap="flat" cmpd="sng" algn="ctr">
              <a:solidFill>
                <a:schemeClr val="tx2"/>
              </a:solid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white"/>
                </a:solidFill>
                <a:effectLst/>
                <a:uLnTx/>
                <a:uFillTx/>
                <a:latin typeface="Nokia Pure Headline Light"/>
                <a:ea typeface=""/>
                <a:cs typeface=""/>
              </a:endParaRPr>
            </a:p>
          </p:txBody>
        </p:sp>
        <p:sp>
          <p:nvSpPr>
            <p:cNvPr id="267" name="Rechteck 85"/>
            <p:cNvSpPr/>
            <p:nvPr/>
          </p:nvSpPr>
          <p:spPr>
            <a:xfrm>
              <a:off x="8452168" y="1470519"/>
              <a:ext cx="135334" cy="135334"/>
            </a:xfrm>
            <a:prstGeom prst="rect">
              <a:avLst/>
            </a:prstGeom>
            <a:grpFill/>
            <a:ln w="6350" cap="flat" cmpd="sng" algn="ctr">
              <a:solidFill>
                <a:schemeClr val="tx2"/>
              </a:solid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white"/>
                </a:solidFill>
                <a:effectLst/>
                <a:uLnTx/>
                <a:uFillTx/>
                <a:latin typeface="Nokia Pure Headline Light"/>
                <a:ea typeface=""/>
                <a:cs typeface=""/>
              </a:endParaRPr>
            </a:p>
          </p:txBody>
        </p:sp>
        <p:sp>
          <p:nvSpPr>
            <p:cNvPr id="268" name="Rechteck 86"/>
            <p:cNvSpPr/>
            <p:nvPr/>
          </p:nvSpPr>
          <p:spPr>
            <a:xfrm>
              <a:off x="8452168" y="1279199"/>
              <a:ext cx="155994" cy="155994"/>
            </a:xfrm>
            <a:prstGeom prst="rect">
              <a:avLst/>
            </a:prstGeom>
            <a:grpFill/>
            <a:ln w="6350" cap="flat" cmpd="sng" algn="ctr">
              <a:solidFill>
                <a:schemeClr val="tx2"/>
              </a:solid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white"/>
                </a:solidFill>
                <a:effectLst/>
                <a:uLnTx/>
                <a:uFillTx/>
                <a:latin typeface="Nokia Pure Headline Light"/>
                <a:ea typeface=""/>
                <a:cs typeface=""/>
              </a:endParaRPr>
            </a:p>
          </p:txBody>
        </p:sp>
        <p:sp>
          <p:nvSpPr>
            <p:cNvPr id="269" name="Raute 3"/>
            <p:cNvSpPr/>
            <p:nvPr/>
          </p:nvSpPr>
          <p:spPr>
            <a:xfrm>
              <a:off x="8478157" y="1496508"/>
              <a:ext cx="83357" cy="83357"/>
            </a:xfrm>
            <a:prstGeom prst="diamond">
              <a:avLst/>
            </a:prstGeom>
            <a:grpFill/>
            <a:ln w="6350" cap="flat" cmpd="sng" algn="ctr">
              <a:solidFill>
                <a:schemeClr val="tx2"/>
              </a:solid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white"/>
                </a:solidFill>
                <a:effectLst/>
                <a:uLnTx/>
                <a:uFillTx/>
                <a:latin typeface="Nokia Pure Headline Light"/>
                <a:ea typeface=""/>
                <a:cs typeface=""/>
              </a:endParaRPr>
            </a:p>
          </p:txBody>
        </p:sp>
        <p:sp>
          <p:nvSpPr>
            <p:cNvPr id="270" name="Gleichschenkliges Dreieck 87"/>
            <p:cNvSpPr/>
            <p:nvPr/>
          </p:nvSpPr>
          <p:spPr>
            <a:xfrm>
              <a:off x="8469507" y="1315518"/>
              <a:ext cx="121316" cy="83357"/>
            </a:xfrm>
            <a:prstGeom prst="triangle">
              <a:avLst/>
            </a:prstGeom>
            <a:grpFill/>
            <a:ln w="6350" cap="flat" cmpd="sng" algn="ctr">
              <a:solidFill>
                <a:schemeClr val="tx2"/>
              </a:solid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white"/>
                </a:solidFill>
                <a:effectLst/>
                <a:uLnTx/>
                <a:uFillTx/>
                <a:latin typeface="Nokia Pure Headline Light"/>
                <a:ea typeface=""/>
                <a:cs typeface=""/>
              </a:endParaRPr>
            </a:p>
          </p:txBody>
        </p:sp>
        <p:sp>
          <p:nvSpPr>
            <p:cNvPr id="271" name="Ellipse 88"/>
            <p:cNvSpPr/>
            <p:nvPr/>
          </p:nvSpPr>
          <p:spPr>
            <a:xfrm>
              <a:off x="8305101" y="1425207"/>
              <a:ext cx="83357" cy="83357"/>
            </a:xfrm>
            <a:prstGeom prst="ellipse">
              <a:avLst/>
            </a:prstGeom>
            <a:grpFill/>
            <a:ln w="6350" cap="flat" cmpd="sng" algn="ctr">
              <a:solidFill>
                <a:schemeClr val="tx2"/>
              </a:solid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white"/>
                </a:solidFill>
                <a:effectLst/>
                <a:uLnTx/>
                <a:uFillTx/>
                <a:latin typeface="Nokia Pure Headline Light"/>
                <a:ea typeface=""/>
                <a:cs typeface=""/>
              </a:endParaRPr>
            </a:p>
          </p:txBody>
        </p:sp>
      </p:grpSp>
      <p:sp>
        <p:nvSpPr>
          <p:cNvPr id="272" name="Rechteck 73"/>
          <p:cNvSpPr/>
          <p:nvPr/>
        </p:nvSpPr>
        <p:spPr>
          <a:xfrm>
            <a:off x="7020272" y="2024727"/>
            <a:ext cx="1692000" cy="540000"/>
          </a:xfrm>
          <a:prstGeom prst="rect">
            <a:avLst/>
          </a:prstGeom>
          <a:solidFill>
            <a:schemeClr val="tx2"/>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Nokia Pure Headline Light"/>
                <a:ea typeface=""/>
                <a:cs typeface=""/>
              </a:rPr>
              <a:t>Automated</a:t>
            </a:r>
            <a:br>
              <a:rPr kumimoji="0" lang="en-US" sz="1100" b="0" i="0" u="none" strike="noStrike" kern="0" cap="none" spc="0" normalizeH="0" baseline="0" noProof="0" dirty="0">
                <a:ln>
                  <a:noFill/>
                </a:ln>
                <a:solidFill>
                  <a:prstClr val="white"/>
                </a:solidFill>
                <a:effectLst/>
                <a:uLnTx/>
                <a:uFillTx/>
                <a:latin typeface="Nokia Pure Headline Light"/>
                <a:ea typeface=""/>
                <a:cs typeface=""/>
              </a:rPr>
            </a:br>
            <a:r>
              <a:rPr kumimoji="0" lang="en-US" sz="1100" b="0" i="0" u="none" strike="noStrike" kern="0" cap="none" spc="0" normalizeH="0" baseline="0" noProof="0" dirty="0">
                <a:ln>
                  <a:noFill/>
                </a:ln>
                <a:solidFill>
                  <a:prstClr val="white"/>
                </a:solidFill>
                <a:effectLst/>
                <a:uLnTx/>
                <a:uFillTx/>
                <a:latin typeface="Nokia Pure Headline Light"/>
                <a:ea typeface=""/>
                <a:cs typeface=""/>
              </a:rPr>
              <a:t>workflows </a:t>
            </a:r>
            <a:endParaRPr kumimoji="0" lang="en-GB" sz="1100" b="0" i="0" u="none" strike="noStrike" kern="0" cap="none" spc="0" normalizeH="0" baseline="0" noProof="0" dirty="0">
              <a:ln>
                <a:noFill/>
              </a:ln>
              <a:solidFill>
                <a:prstClr val="white"/>
              </a:solidFill>
              <a:effectLst/>
              <a:uLnTx/>
              <a:uFillTx/>
              <a:latin typeface="Nokia Pure Headline Light"/>
              <a:ea typeface=""/>
              <a:cs typeface=""/>
            </a:endParaRPr>
          </a:p>
        </p:txBody>
      </p:sp>
      <p:grpSp>
        <p:nvGrpSpPr>
          <p:cNvPr id="273" name="Gruppieren 14"/>
          <p:cNvGrpSpPr/>
          <p:nvPr/>
        </p:nvGrpSpPr>
        <p:grpSpPr>
          <a:xfrm>
            <a:off x="7060210" y="1910994"/>
            <a:ext cx="428114" cy="155594"/>
            <a:chOff x="7020272" y="1644113"/>
            <a:chExt cx="428114" cy="143638"/>
          </a:xfrm>
        </p:grpSpPr>
        <p:sp>
          <p:nvSpPr>
            <p:cNvPr id="274" name="Gleichschenkliges Dreieck 96"/>
            <p:cNvSpPr/>
            <p:nvPr/>
          </p:nvSpPr>
          <p:spPr>
            <a:xfrm flipV="1">
              <a:off x="7020272" y="1652204"/>
              <a:ext cx="428114" cy="135547"/>
            </a:xfrm>
            <a:prstGeom prst="triangle">
              <a:avLst/>
            </a:prstGeom>
            <a:solidFill>
              <a:sysClr val="window" lastClr="FFFFFF"/>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9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44546A"/>
                </a:solidFill>
                <a:effectLst/>
                <a:uLnTx/>
                <a:uFillTx/>
                <a:latin typeface="Nokia Pure Headline Light"/>
                <a:ea typeface=""/>
                <a:cs typeface=""/>
              </a:endParaRPr>
            </a:p>
          </p:txBody>
        </p:sp>
        <p:sp>
          <p:nvSpPr>
            <p:cNvPr id="275" name="Gleichschenkliges Dreieck 91"/>
            <p:cNvSpPr/>
            <p:nvPr/>
          </p:nvSpPr>
          <p:spPr>
            <a:xfrm flipV="1">
              <a:off x="7071373" y="1644113"/>
              <a:ext cx="325912" cy="103188"/>
            </a:xfrm>
            <a:prstGeom prst="triangle">
              <a:avLst/>
            </a:prstGeom>
            <a:solidFill>
              <a:schemeClr val="tx2"/>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9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44546A"/>
                </a:solidFill>
                <a:effectLst/>
                <a:uLnTx/>
                <a:uFillTx/>
                <a:latin typeface="Nokia Pure Headline Light"/>
                <a:ea typeface=""/>
                <a:cs typeface=""/>
              </a:endParaRPr>
            </a:p>
          </p:txBody>
        </p:sp>
      </p:grpSp>
      <p:grpSp>
        <p:nvGrpSpPr>
          <p:cNvPr id="276" name="Gruppieren 97"/>
          <p:cNvGrpSpPr/>
          <p:nvPr/>
        </p:nvGrpSpPr>
        <p:grpSpPr>
          <a:xfrm>
            <a:off x="7371936" y="2558266"/>
            <a:ext cx="428114" cy="156674"/>
            <a:chOff x="7020272" y="1631077"/>
            <a:chExt cx="428114" cy="156674"/>
          </a:xfrm>
        </p:grpSpPr>
        <p:sp>
          <p:nvSpPr>
            <p:cNvPr id="277" name="Gleichschenkliges Dreieck 99"/>
            <p:cNvSpPr/>
            <p:nvPr/>
          </p:nvSpPr>
          <p:spPr>
            <a:xfrm flipV="1">
              <a:off x="7020272" y="1652204"/>
              <a:ext cx="428114" cy="135547"/>
            </a:xfrm>
            <a:prstGeom prst="triangle">
              <a:avLst/>
            </a:prstGeom>
            <a:solidFill>
              <a:sysClr val="window" lastClr="FFFFFF"/>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9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44546A"/>
                </a:solidFill>
                <a:effectLst/>
                <a:uLnTx/>
                <a:uFillTx/>
                <a:latin typeface="Nokia Pure Headline Light"/>
                <a:ea typeface=""/>
                <a:cs typeface=""/>
              </a:endParaRPr>
            </a:p>
          </p:txBody>
        </p:sp>
        <p:sp>
          <p:nvSpPr>
            <p:cNvPr id="278" name="Gleichschenkliges Dreieck 100"/>
            <p:cNvSpPr/>
            <p:nvPr/>
          </p:nvSpPr>
          <p:spPr>
            <a:xfrm flipV="1">
              <a:off x="7071373" y="1631077"/>
              <a:ext cx="325912" cy="116224"/>
            </a:xfrm>
            <a:prstGeom prst="triangle">
              <a:avLst/>
            </a:prstGeom>
            <a:solidFill>
              <a:schemeClr val="tx2"/>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9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44546A"/>
                </a:solidFill>
                <a:effectLst/>
                <a:uLnTx/>
                <a:uFillTx/>
                <a:latin typeface="Nokia Pure Headline Light"/>
                <a:ea typeface=""/>
                <a:cs typeface=""/>
              </a:endParaRPr>
            </a:p>
          </p:txBody>
        </p:sp>
      </p:grpSp>
      <p:grpSp>
        <p:nvGrpSpPr>
          <p:cNvPr id="279" name="Gruppieren 102"/>
          <p:cNvGrpSpPr/>
          <p:nvPr/>
        </p:nvGrpSpPr>
        <p:grpSpPr>
          <a:xfrm>
            <a:off x="7683661" y="3210675"/>
            <a:ext cx="428114" cy="147506"/>
            <a:chOff x="7020272" y="1640245"/>
            <a:chExt cx="428114" cy="147506"/>
          </a:xfrm>
        </p:grpSpPr>
        <p:sp>
          <p:nvSpPr>
            <p:cNvPr id="280" name="Gleichschenkliges Dreieck 103"/>
            <p:cNvSpPr/>
            <p:nvPr/>
          </p:nvSpPr>
          <p:spPr>
            <a:xfrm flipV="1">
              <a:off x="7020272" y="1652204"/>
              <a:ext cx="428114" cy="135547"/>
            </a:xfrm>
            <a:prstGeom prst="triangle">
              <a:avLst/>
            </a:prstGeom>
            <a:solidFill>
              <a:sysClr val="window" lastClr="FFFFFF"/>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9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44546A"/>
                </a:solidFill>
                <a:effectLst/>
                <a:uLnTx/>
                <a:uFillTx/>
                <a:latin typeface="Nokia Pure Headline Light"/>
                <a:ea typeface=""/>
                <a:cs typeface=""/>
              </a:endParaRPr>
            </a:p>
          </p:txBody>
        </p:sp>
        <p:sp>
          <p:nvSpPr>
            <p:cNvPr id="281" name="Gleichschenkliges Dreieck 105"/>
            <p:cNvSpPr/>
            <p:nvPr/>
          </p:nvSpPr>
          <p:spPr>
            <a:xfrm flipV="1">
              <a:off x="7071373" y="1640245"/>
              <a:ext cx="325912" cy="107056"/>
            </a:xfrm>
            <a:prstGeom prst="triangle">
              <a:avLst/>
            </a:prstGeom>
            <a:solidFill>
              <a:schemeClr val="tx2"/>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9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44546A"/>
                </a:solidFill>
                <a:effectLst/>
                <a:uLnTx/>
                <a:uFillTx/>
                <a:latin typeface="Nokia Pure Headline Light"/>
                <a:ea typeface=""/>
                <a:cs typeface=""/>
              </a:endParaRPr>
            </a:p>
          </p:txBody>
        </p:sp>
      </p:grpSp>
      <p:sp>
        <p:nvSpPr>
          <p:cNvPr id="282" name="Rechteck 171"/>
          <p:cNvSpPr/>
          <p:nvPr/>
        </p:nvSpPr>
        <p:spPr>
          <a:xfrm>
            <a:off x="6012272" y="3979187"/>
            <a:ext cx="2700000" cy="612000"/>
          </a:xfrm>
          <a:prstGeom prst="rect">
            <a:avLst/>
          </a:prstGeom>
          <a:solidFill>
            <a:schemeClr val="accent1">
              <a:lumMod val="20000"/>
              <a:lumOff val="80000"/>
            </a:schemeClr>
          </a:solidFill>
          <a:ln w="12700" cap="flat" cmpd="sng" algn="ctr">
            <a:noFill/>
            <a:prstDash val="solid"/>
            <a:miter lim="800000"/>
          </a:ln>
          <a:effectLst/>
        </p:spPr>
        <p:txBody>
          <a:bodyPr rot="0" spcFirstLastPara="0" vertOverflow="overflow" horzOverflow="overflow" vert="horz" wrap="square" lIns="72000" tIns="72000" rIns="108000" bIns="36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9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001135"/>
                </a:solidFill>
                <a:effectLst/>
                <a:uLnTx/>
                <a:uFillTx/>
                <a:latin typeface="Nokia Pure Headline Light"/>
                <a:ea typeface=""/>
                <a:cs typeface=""/>
              </a:rPr>
              <a:t>Operational </a:t>
            </a:r>
            <a:br>
              <a:rPr kumimoji="0" lang="en-GB" sz="1600" b="0" i="0" u="none" strike="noStrike" kern="0" cap="none" spc="0" normalizeH="0" baseline="0" noProof="0" dirty="0">
                <a:ln>
                  <a:noFill/>
                </a:ln>
                <a:solidFill>
                  <a:srgbClr val="001135"/>
                </a:solidFill>
                <a:effectLst/>
                <a:uLnTx/>
                <a:uFillTx/>
                <a:latin typeface="Nokia Pure Headline Light"/>
                <a:ea typeface=""/>
                <a:cs typeface=""/>
              </a:rPr>
            </a:br>
            <a:r>
              <a:rPr kumimoji="0" lang="en-GB" sz="1600" b="0" i="0" u="none" strike="noStrike" kern="0" cap="none" spc="0" normalizeH="0" baseline="0" noProof="0" dirty="0">
                <a:ln>
                  <a:noFill/>
                </a:ln>
                <a:solidFill>
                  <a:srgbClr val="001135"/>
                </a:solidFill>
                <a:effectLst/>
                <a:uLnTx/>
                <a:uFillTx/>
                <a:latin typeface="Nokia Pure Headline Light"/>
                <a:ea typeface=""/>
                <a:cs typeface=""/>
              </a:rPr>
              <a:t>efficiency</a:t>
            </a:r>
          </a:p>
        </p:txBody>
      </p:sp>
      <p:grpSp>
        <p:nvGrpSpPr>
          <p:cNvPr id="284" name="Gruppieren 178"/>
          <p:cNvGrpSpPr/>
          <p:nvPr/>
        </p:nvGrpSpPr>
        <p:grpSpPr>
          <a:xfrm>
            <a:off x="8052642" y="2131890"/>
            <a:ext cx="581200" cy="335884"/>
            <a:chOff x="5248595" y="827031"/>
            <a:chExt cx="3181998" cy="1838930"/>
          </a:xfrm>
          <a:solidFill>
            <a:schemeClr val="accent3"/>
          </a:solidFill>
        </p:grpSpPr>
        <p:sp>
          <p:nvSpPr>
            <p:cNvPr id="285" name="Freihandform: Form 179"/>
            <p:cNvSpPr>
              <a:spLocks/>
            </p:cNvSpPr>
            <p:nvPr/>
          </p:nvSpPr>
          <p:spPr bwMode="auto">
            <a:xfrm rot="1000857">
              <a:off x="6909477" y="827031"/>
              <a:ext cx="923947" cy="613510"/>
            </a:xfrm>
            <a:custGeom>
              <a:avLst/>
              <a:gdLst>
                <a:gd name="connsiteX0" fmla="*/ 240180 w 923947"/>
                <a:gd name="connsiteY0" fmla="*/ 821793 h 849087"/>
                <a:gd name="connsiteX1" fmla="*/ 240148 w 923947"/>
                <a:gd name="connsiteY1" fmla="*/ 822553 h 849087"/>
                <a:gd name="connsiteX2" fmla="*/ 239071 w 923947"/>
                <a:gd name="connsiteY2" fmla="*/ 849087 h 849087"/>
                <a:gd name="connsiteX3" fmla="*/ 238171 w 923947"/>
                <a:gd name="connsiteY3" fmla="*/ 848644 h 849087"/>
                <a:gd name="connsiteX4" fmla="*/ 238296 w 923947"/>
                <a:gd name="connsiteY4" fmla="*/ 839924 h 849087"/>
                <a:gd name="connsiteX5" fmla="*/ 499668 w 923947"/>
                <a:gd name="connsiteY5" fmla="*/ 38209 h 849087"/>
                <a:gd name="connsiteX6" fmla="*/ 540589 w 923947"/>
                <a:gd name="connsiteY6" fmla="*/ 26534 h 849087"/>
                <a:gd name="connsiteX7" fmla="*/ 582586 w 923947"/>
                <a:gd name="connsiteY7" fmla="*/ 16982 h 849087"/>
                <a:gd name="connsiteX8" fmla="*/ 624583 w 923947"/>
                <a:gd name="connsiteY8" fmla="*/ 9552 h 849087"/>
                <a:gd name="connsiteX9" fmla="*/ 667657 w 923947"/>
                <a:gd name="connsiteY9" fmla="*/ 4245 h 849087"/>
                <a:gd name="connsiteX10" fmla="*/ 711808 w 923947"/>
                <a:gd name="connsiteY10" fmla="*/ 1061 h 849087"/>
                <a:gd name="connsiteX11" fmla="*/ 755958 w 923947"/>
                <a:gd name="connsiteY11" fmla="*/ 0 h 849087"/>
                <a:gd name="connsiteX12" fmla="*/ 757035 w 923947"/>
                <a:gd name="connsiteY12" fmla="*/ 1061 h 849087"/>
                <a:gd name="connsiteX13" fmla="*/ 839953 w 923947"/>
                <a:gd name="connsiteY13" fmla="*/ 85970 h 849087"/>
                <a:gd name="connsiteX14" fmla="*/ 923947 w 923947"/>
                <a:gd name="connsiteY14" fmla="*/ 169817 h 849087"/>
                <a:gd name="connsiteX15" fmla="*/ 839953 w 923947"/>
                <a:gd name="connsiteY15" fmla="*/ 254726 h 849087"/>
                <a:gd name="connsiteX16" fmla="*/ 757036 w 923947"/>
                <a:gd name="connsiteY16" fmla="*/ 338573 h 849087"/>
                <a:gd name="connsiteX17" fmla="*/ 755958 w 923947"/>
                <a:gd name="connsiteY17" fmla="*/ 339635 h 849087"/>
                <a:gd name="connsiteX18" fmla="*/ 729037 w 923947"/>
                <a:gd name="connsiteY18" fmla="*/ 340696 h 849087"/>
                <a:gd name="connsiteX19" fmla="*/ 703193 w 923947"/>
                <a:gd name="connsiteY19" fmla="*/ 341758 h 849087"/>
                <a:gd name="connsiteX20" fmla="*/ 677349 w 923947"/>
                <a:gd name="connsiteY20" fmla="*/ 346003 h 849087"/>
                <a:gd name="connsiteX21" fmla="*/ 651504 w 923947"/>
                <a:gd name="connsiteY21" fmla="*/ 350248 h 849087"/>
                <a:gd name="connsiteX22" fmla="*/ 626737 w 923947"/>
                <a:gd name="connsiteY22" fmla="*/ 355555 h 849087"/>
                <a:gd name="connsiteX23" fmla="*/ 601969 w 923947"/>
                <a:gd name="connsiteY23" fmla="*/ 362985 h 849087"/>
                <a:gd name="connsiteX24" fmla="*/ 578278 w 923947"/>
                <a:gd name="connsiteY24" fmla="*/ 370414 h 849087"/>
                <a:gd name="connsiteX25" fmla="*/ 554588 w 923947"/>
                <a:gd name="connsiteY25" fmla="*/ 379966 h 849087"/>
                <a:gd name="connsiteX26" fmla="*/ 531974 w 923947"/>
                <a:gd name="connsiteY26" fmla="*/ 389519 h 849087"/>
                <a:gd name="connsiteX27" fmla="*/ 509360 w 923947"/>
                <a:gd name="connsiteY27" fmla="*/ 401194 h 849087"/>
                <a:gd name="connsiteX28" fmla="*/ 487823 w 923947"/>
                <a:gd name="connsiteY28" fmla="*/ 412869 h 849087"/>
                <a:gd name="connsiteX29" fmla="*/ 467363 w 923947"/>
                <a:gd name="connsiteY29" fmla="*/ 426666 h 849087"/>
                <a:gd name="connsiteX30" fmla="*/ 446903 w 923947"/>
                <a:gd name="connsiteY30" fmla="*/ 440464 h 849087"/>
                <a:gd name="connsiteX31" fmla="*/ 427519 w 923947"/>
                <a:gd name="connsiteY31" fmla="*/ 456384 h 849087"/>
                <a:gd name="connsiteX32" fmla="*/ 408136 w 923947"/>
                <a:gd name="connsiteY32" fmla="*/ 472305 h 849087"/>
                <a:gd name="connsiteX33" fmla="*/ 389830 w 923947"/>
                <a:gd name="connsiteY33" fmla="*/ 489286 h 849087"/>
                <a:gd name="connsiteX34" fmla="*/ 373677 w 923947"/>
                <a:gd name="connsiteY34" fmla="*/ 506268 h 849087"/>
                <a:gd name="connsiteX35" fmla="*/ 357524 w 923947"/>
                <a:gd name="connsiteY35" fmla="*/ 525373 h 849087"/>
                <a:gd name="connsiteX36" fmla="*/ 341372 w 923947"/>
                <a:gd name="connsiteY36" fmla="*/ 544477 h 849087"/>
                <a:gd name="connsiteX37" fmla="*/ 327372 w 923947"/>
                <a:gd name="connsiteY37" fmla="*/ 564643 h 849087"/>
                <a:gd name="connsiteX38" fmla="*/ 313373 w 923947"/>
                <a:gd name="connsiteY38" fmla="*/ 584809 h 849087"/>
                <a:gd name="connsiteX39" fmla="*/ 301528 w 923947"/>
                <a:gd name="connsiteY39" fmla="*/ 606036 h 849087"/>
                <a:gd name="connsiteX40" fmla="*/ 297556 w 923947"/>
                <a:gd name="connsiteY40" fmla="*/ 613510 h 849087"/>
                <a:gd name="connsiteX41" fmla="*/ 252865 w 923947"/>
                <a:gd name="connsiteY41" fmla="*/ 528779 h 849087"/>
                <a:gd name="connsiteX42" fmla="*/ 203632 w 923947"/>
                <a:gd name="connsiteY42" fmla="*/ 435432 h 849087"/>
                <a:gd name="connsiteX43" fmla="*/ 99237 w 923947"/>
                <a:gd name="connsiteY43" fmla="*/ 438308 h 849087"/>
                <a:gd name="connsiteX44" fmla="*/ 0 w 923947"/>
                <a:gd name="connsiteY44" fmla="*/ 441767 h 849087"/>
                <a:gd name="connsiteX45" fmla="*/ 19394 w 923947"/>
                <a:gd name="connsiteY45" fmla="*/ 407562 h 849087"/>
                <a:gd name="connsiteX46" fmla="*/ 42007 w 923947"/>
                <a:gd name="connsiteY46" fmla="*/ 373598 h 849087"/>
                <a:gd name="connsiteX47" fmla="*/ 65698 w 923947"/>
                <a:gd name="connsiteY47" fmla="*/ 340696 h 849087"/>
                <a:gd name="connsiteX48" fmla="*/ 91542 w 923947"/>
                <a:gd name="connsiteY48" fmla="*/ 307794 h 849087"/>
                <a:gd name="connsiteX49" fmla="*/ 118464 w 923947"/>
                <a:gd name="connsiteY49" fmla="*/ 277015 h 849087"/>
                <a:gd name="connsiteX50" fmla="*/ 147539 w 923947"/>
                <a:gd name="connsiteY50" fmla="*/ 248358 h 849087"/>
                <a:gd name="connsiteX51" fmla="*/ 176613 w 923947"/>
                <a:gd name="connsiteY51" fmla="*/ 219701 h 849087"/>
                <a:gd name="connsiteX52" fmla="*/ 207842 w 923947"/>
                <a:gd name="connsiteY52" fmla="*/ 193167 h 849087"/>
                <a:gd name="connsiteX53" fmla="*/ 241224 w 923947"/>
                <a:gd name="connsiteY53" fmla="*/ 168756 h 849087"/>
                <a:gd name="connsiteX54" fmla="*/ 274607 w 923947"/>
                <a:gd name="connsiteY54" fmla="*/ 144345 h 849087"/>
                <a:gd name="connsiteX55" fmla="*/ 309066 w 923947"/>
                <a:gd name="connsiteY55" fmla="*/ 123118 h 849087"/>
                <a:gd name="connsiteX56" fmla="*/ 345679 w 923947"/>
                <a:gd name="connsiteY56" fmla="*/ 101890 h 849087"/>
                <a:gd name="connsiteX57" fmla="*/ 382292 w 923947"/>
                <a:gd name="connsiteY57" fmla="*/ 83847 h 849087"/>
                <a:gd name="connsiteX58" fmla="*/ 421058 w 923947"/>
                <a:gd name="connsiteY58" fmla="*/ 66866 h 849087"/>
                <a:gd name="connsiteX59" fmla="*/ 459825 w 923947"/>
                <a:gd name="connsiteY59" fmla="*/ 50945 h 849087"/>
                <a:gd name="connsiteX0" fmla="*/ 238296 w 923947"/>
                <a:gd name="connsiteY0" fmla="*/ 839924 h 849087"/>
                <a:gd name="connsiteX1" fmla="*/ 240148 w 923947"/>
                <a:gd name="connsiteY1" fmla="*/ 822553 h 849087"/>
                <a:gd name="connsiteX2" fmla="*/ 239071 w 923947"/>
                <a:gd name="connsiteY2" fmla="*/ 849087 h 849087"/>
                <a:gd name="connsiteX3" fmla="*/ 238171 w 923947"/>
                <a:gd name="connsiteY3" fmla="*/ 848644 h 849087"/>
                <a:gd name="connsiteX4" fmla="*/ 238296 w 923947"/>
                <a:gd name="connsiteY4" fmla="*/ 839924 h 849087"/>
                <a:gd name="connsiteX5" fmla="*/ 499668 w 923947"/>
                <a:gd name="connsiteY5" fmla="*/ 38209 h 849087"/>
                <a:gd name="connsiteX6" fmla="*/ 540589 w 923947"/>
                <a:gd name="connsiteY6" fmla="*/ 26534 h 849087"/>
                <a:gd name="connsiteX7" fmla="*/ 582586 w 923947"/>
                <a:gd name="connsiteY7" fmla="*/ 16982 h 849087"/>
                <a:gd name="connsiteX8" fmla="*/ 624583 w 923947"/>
                <a:gd name="connsiteY8" fmla="*/ 9552 h 849087"/>
                <a:gd name="connsiteX9" fmla="*/ 667657 w 923947"/>
                <a:gd name="connsiteY9" fmla="*/ 4245 h 849087"/>
                <a:gd name="connsiteX10" fmla="*/ 711808 w 923947"/>
                <a:gd name="connsiteY10" fmla="*/ 1061 h 849087"/>
                <a:gd name="connsiteX11" fmla="*/ 755958 w 923947"/>
                <a:gd name="connsiteY11" fmla="*/ 0 h 849087"/>
                <a:gd name="connsiteX12" fmla="*/ 757035 w 923947"/>
                <a:gd name="connsiteY12" fmla="*/ 1061 h 849087"/>
                <a:gd name="connsiteX13" fmla="*/ 839953 w 923947"/>
                <a:gd name="connsiteY13" fmla="*/ 85970 h 849087"/>
                <a:gd name="connsiteX14" fmla="*/ 923947 w 923947"/>
                <a:gd name="connsiteY14" fmla="*/ 169817 h 849087"/>
                <a:gd name="connsiteX15" fmla="*/ 839953 w 923947"/>
                <a:gd name="connsiteY15" fmla="*/ 254726 h 849087"/>
                <a:gd name="connsiteX16" fmla="*/ 757036 w 923947"/>
                <a:gd name="connsiteY16" fmla="*/ 338573 h 849087"/>
                <a:gd name="connsiteX17" fmla="*/ 755958 w 923947"/>
                <a:gd name="connsiteY17" fmla="*/ 339635 h 849087"/>
                <a:gd name="connsiteX18" fmla="*/ 729037 w 923947"/>
                <a:gd name="connsiteY18" fmla="*/ 340696 h 849087"/>
                <a:gd name="connsiteX19" fmla="*/ 703193 w 923947"/>
                <a:gd name="connsiteY19" fmla="*/ 341758 h 849087"/>
                <a:gd name="connsiteX20" fmla="*/ 677349 w 923947"/>
                <a:gd name="connsiteY20" fmla="*/ 346003 h 849087"/>
                <a:gd name="connsiteX21" fmla="*/ 651504 w 923947"/>
                <a:gd name="connsiteY21" fmla="*/ 350248 h 849087"/>
                <a:gd name="connsiteX22" fmla="*/ 626737 w 923947"/>
                <a:gd name="connsiteY22" fmla="*/ 355555 h 849087"/>
                <a:gd name="connsiteX23" fmla="*/ 601969 w 923947"/>
                <a:gd name="connsiteY23" fmla="*/ 362985 h 849087"/>
                <a:gd name="connsiteX24" fmla="*/ 578278 w 923947"/>
                <a:gd name="connsiteY24" fmla="*/ 370414 h 849087"/>
                <a:gd name="connsiteX25" fmla="*/ 554588 w 923947"/>
                <a:gd name="connsiteY25" fmla="*/ 379966 h 849087"/>
                <a:gd name="connsiteX26" fmla="*/ 531974 w 923947"/>
                <a:gd name="connsiteY26" fmla="*/ 389519 h 849087"/>
                <a:gd name="connsiteX27" fmla="*/ 509360 w 923947"/>
                <a:gd name="connsiteY27" fmla="*/ 401194 h 849087"/>
                <a:gd name="connsiteX28" fmla="*/ 487823 w 923947"/>
                <a:gd name="connsiteY28" fmla="*/ 412869 h 849087"/>
                <a:gd name="connsiteX29" fmla="*/ 467363 w 923947"/>
                <a:gd name="connsiteY29" fmla="*/ 426666 h 849087"/>
                <a:gd name="connsiteX30" fmla="*/ 446903 w 923947"/>
                <a:gd name="connsiteY30" fmla="*/ 440464 h 849087"/>
                <a:gd name="connsiteX31" fmla="*/ 427519 w 923947"/>
                <a:gd name="connsiteY31" fmla="*/ 456384 h 849087"/>
                <a:gd name="connsiteX32" fmla="*/ 408136 w 923947"/>
                <a:gd name="connsiteY32" fmla="*/ 472305 h 849087"/>
                <a:gd name="connsiteX33" fmla="*/ 389830 w 923947"/>
                <a:gd name="connsiteY33" fmla="*/ 489286 h 849087"/>
                <a:gd name="connsiteX34" fmla="*/ 373677 w 923947"/>
                <a:gd name="connsiteY34" fmla="*/ 506268 h 849087"/>
                <a:gd name="connsiteX35" fmla="*/ 357524 w 923947"/>
                <a:gd name="connsiteY35" fmla="*/ 525373 h 849087"/>
                <a:gd name="connsiteX36" fmla="*/ 341372 w 923947"/>
                <a:gd name="connsiteY36" fmla="*/ 544477 h 849087"/>
                <a:gd name="connsiteX37" fmla="*/ 327372 w 923947"/>
                <a:gd name="connsiteY37" fmla="*/ 564643 h 849087"/>
                <a:gd name="connsiteX38" fmla="*/ 313373 w 923947"/>
                <a:gd name="connsiteY38" fmla="*/ 584809 h 849087"/>
                <a:gd name="connsiteX39" fmla="*/ 301528 w 923947"/>
                <a:gd name="connsiteY39" fmla="*/ 606036 h 849087"/>
                <a:gd name="connsiteX40" fmla="*/ 297556 w 923947"/>
                <a:gd name="connsiteY40" fmla="*/ 613510 h 849087"/>
                <a:gd name="connsiteX41" fmla="*/ 252865 w 923947"/>
                <a:gd name="connsiteY41" fmla="*/ 528779 h 849087"/>
                <a:gd name="connsiteX42" fmla="*/ 203632 w 923947"/>
                <a:gd name="connsiteY42" fmla="*/ 435432 h 849087"/>
                <a:gd name="connsiteX43" fmla="*/ 99237 w 923947"/>
                <a:gd name="connsiteY43" fmla="*/ 438308 h 849087"/>
                <a:gd name="connsiteX44" fmla="*/ 0 w 923947"/>
                <a:gd name="connsiteY44" fmla="*/ 441767 h 849087"/>
                <a:gd name="connsiteX45" fmla="*/ 19394 w 923947"/>
                <a:gd name="connsiteY45" fmla="*/ 407562 h 849087"/>
                <a:gd name="connsiteX46" fmla="*/ 42007 w 923947"/>
                <a:gd name="connsiteY46" fmla="*/ 373598 h 849087"/>
                <a:gd name="connsiteX47" fmla="*/ 65698 w 923947"/>
                <a:gd name="connsiteY47" fmla="*/ 340696 h 849087"/>
                <a:gd name="connsiteX48" fmla="*/ 91542 w 923947"/>
                <a:gd name="connsiteY48" fmla="*/ 307794 h 849087"/>
                <a:gd name="connsiteX49" fmla="*/ 118464 w 923947"/>
                <a:gd name="connsiteY49" fmla="*/ 277015 h 849087"/>
                <a:gd name="connsiteX50" fmla="*/ 147539 w 923947"/>
                <a:gd name="connsiteY50" fmla="*/ 248358 h 849087"/>
                <a:gd name="connsiteX51" fmla="*/ 176613 w 923947"/>
                <a:gd name="connsiteY51" fmla="*/ 219701 h 849087"/>
                <a:gd name="connsiteX52" fmla="*/ 207842 w 923947"/>
                <a:gd name="connsiteY52" fmla="*/ 193167 h 849087"/>
                <a:gd name="connsiteX53" fmla="*/ 241224 w 923947"/>
                <a:gd name="connsiteY53" fmla="*/ 168756 h 849087"/>
                <a:gd name="connsiteX54" fmla="*/ 274607 w 923947"/>
                <a:gd name="connsiteY54" fmla="*/ 144345 h 849087"/>
                <a:gd name="connsiteX55" fmla="*/ 309066 w 923947"/>
                <a:gd name="connsiteY55" fmla="*/ 123118 h 849087"/>
                <a:gd name="connsiteX56" fmla="*/ 345679 w 923947"/>
                <a:gd name="connsiteY56" fmla="*/ 101890 h 849087"/>
                <a:gd name="connsiteX57" fmla="*/ 382292 w 923947"/>
                <a:gd name="connsiteY57" fmla="*/ 83847 h 849087"/>
                <a:gd name="connsiteX58" fmla="*/ 421058 w 923947"/>
                <a:gd name="connsiteY58" fmla="*/ 66866 h 849087"/>
                <a:gd name="connsiteX59" fmla="*/ 459825 w 923947"/>
                <a:gd name="connsiteY59" fmla="*/ 50945 h 849087"/>
                <a:gd name="connsiteX60" fmla="*/ 499668 w 923947"/>
                <a:gd name="connsiteY60" fmla="*/ 38209 h 849087"/>
                <a:gd name="connsiteX0" fmla="*/ 238171 w 923947"/>
                <a:gd name="connsiteY0" fmla="*/ 848644 h 849087"/>
                <a:gd name="connsiteX1" fmla="*/ 240148 w 923947"/>
                <a:gd name="connsiteY1" fmla="*/ 822553 h 849087"/>
                <a:gd name="connsiteX2" fmla="*/ 239071 w 923947"/>
                <a:gd name="connsiteY2" fmla="*/ 849087 h 849087"/>
                <a:gd name="connsiteX3" fmla="*/ 238171 w 923947"/>
                <a:gd name="connsiteY3" fmla="*/ 848644 h 849087"/>
                <a:gd name="connsiteX4" fmla="*/ 499668 w 923947"/>
                <a:gd name="connsiteY4" fmla="*/ 38209 h 849087"/>
                <a:gd name="connsiteX5" fmla="*/ 540589 w 923947"/>
                <a:gd name="connsiteY5" fmla="*/ 26534 h 849087"/>
                <a:gd name="connsiteX6" fmla="*/ 582586 w 923947"/>
                <a:gd name="connsiteY6" fmla="*/ 16982 h 849087"/>
                <a:gd name="connsiteX7" fmla="*/ 624583 w 923947"/>
                <a:gd name="connsiteY7" fmla="*/ 9552 h 849087"/>
                <a:gd name="connsiteX8" fmla="*/ 667657 w 923947"/>
                <a:gd name="connsiteY8" fmla="*/ 4245 h 849087"/>
                <a:gd name="connsiteX9" fmla="*/ 711808 w 923947"/>
                <a:gd name="connsiteY9" fmla="*/ 1061 h 849087"/>
                <a:gd name="connsiteX10" fmla="*/ 755958 w 923947"/>
                <a:gd name="connsiteY10" fmla="*/ 0 h 849087"/>
                <a:gd name="connsiteX11" fmla="*/ 757035 w 923947"/>
                <a:gd name="connsiteY11" fmla="*/ 1061 h 849087"/>
                <a:gd name="connsiteX12" fmla="*/ 839953 w 923947"/>
                <a:gd name="connsiteY12" fmla="*/ 85970 h 849087"/>
                <a:gd name="connsiteX13" fmla="*/ 923947 w 923947"/>
                <a:gd name="connsiteY13" fmla="*/ 169817 h 849087"/>
                <a:gd name="connsiteX14" fmla="*/ 839953 w 923947"/>
                <a:gd name="connsiteY14" fmla="*/ 254726 h 849087"/>
                <a:gd name="connsiteX15" fmla="*/ 757036 w 923947"/>
                <a:gd name="connsiteY15" fmla="*/ 338573 h 849087"/>
                <a:gd name="connsiteX16" fmla="*/ 755958 w 923947"/>
                <a:gd name="connsiteY16" fmla="*/ 339635 h 849087"/>
                <a:gd name="connsiteX17" fmla="*/ 729037 w 923947"/>
                <a:gd name="connsiteY17" fmla="*/ 340696 h 849087"/>
                <a:gd name="connsiteX18" fmla="*/ 703193 w 923947"/>
                <a:gd name="connsiteY18" fmla="*/ 341758 h 849087"/>
                <a:gd name="connsiteX19" fmla="*/ 677349 w 923947"/>
                <a:gd name="connsiteY19" fmla="*/ 346003 h 849087"/>
                <a:gd name="connsiteX20" fmla="*/ 651504 w 923947"/>
                <a:gd name="connsiteY20" fmla="*/ 350248 h 849087"/>
                <a:gd name="connsiteX21" fmla="*/ 626737 w 923947"/>
                <a:gd name="connsiteY21" fmla="*/ 355555 h 849087"/>
                <a:gd name="connsiteX22" fmla="*/ 601969 w 923947"/>
                <a:gd name="connsiteY22" fmla="*/ 362985 h 849087"/>
                <a:gd name="connsiteX23" fmla="*/ 578278 w 923947"/>
                <a:gd name="connsiteY23" fmla="*/ 370414 h 849087"/>
                <a:gd name="connsiteX24" fmla="*/ 554588 w 923947"/>
                <a:gd name="connsiteY24" fmla="*/ 379966 h 849087"/>
                <a:gd name="connsiteX25" fmla="*/ 531974 w 923947"/>
                <a:gd name="connsiteY25" fmla="*/ 389519 h 849087"/>
                <a:gd name="connsiteX26" fmla="*/ 509360 w 923947"/>
                <a:gd name="connsiteY26" fmla="*/ 401194 h 849087"/>
                <a:gd name="connsiteX27" fmla="*/ 487823 w 923947"/>
                <a:gd name="connsiteY27" fmla="*/ 412869 h 849087"/>
                <a:gd name="connsiteX28" fmla="*/ 467363 w 923947"/>
                <a:gd name="connsiteY28" fmla="*/ 426666 h 849087"/>
                <a:gd name="connsiteX29" fmla="*/ 446903 w 923947"/>
                <a:gd name="connsiteY29" fmla="*/ 440464 h 849087"/>
                <a:gd name="connsiteX30" fmla="*/ 427519 w 923947"/>
                <a:gd name="connsiteY30" fmla="*/ 456384 h 849087"/>
                <a:gd name="connsiteX31" fmla="*/ 408136 w 923947"/>
                <a:gd name="connsiteY31" fmla="*/ 472305 h 849087"/>
                <a:gd name="connsiteX32" fmla="*/ 389830 w 923947"/>
                <a:gd name="connsiteY32" fmla="*/ 489286 h 849087"/>
                <a:gd name="connsiteX33" fmla="*/ 373677 w 923947"/>
                <a:gd name="connsiteY33" fmla="*/ 506268 h 849087"/>
                <a:gd name="connsiteX34" fmla="*/ 357524 w 923947"/>
                <a:gd name="connsiteY34" fmla="*/ 525373 h 849087"/>
                <a:gd name="connsiteX35" fmla="*/ 341372 w 923947"/>
                <a:gd name="connsiteY35" fmla="*/ 544477 h 849087"/>
                <a:gd name="connsiteX36" fmla="*/ 327372 w 923947"/>
                <a:gd name="connsiteY36" fmla="*/ 564643 h 849087"/>
                <a:gd name="connsiteX37" fmla="*/ 313373 w 923947"/>
                <a:gd name="connsiteY37" fmla="*/ 584809 h 849087"/>
                <a:gd name="connsiteX38" fmla="*/ 301528 w 923947"/>
                <a:gd name="connsiteY38" fmla="*/ 606036 h 849087"/>
                <a:gd name="connsiteX39" fmla="*/ 297556 w 923947"/>
                <a:gd name="connsiteY39" fmla="*/ 613510 h 849087"/>
                <a:gd name="connsiteX40" fmla="*/ 252865 w 923947"/>
                <a:gd name="connsiteY40" fmla="*/ 528779 h 849087"/>
                <a:gd name="connsiteX41" fmla="*/ 203632 w 923947"/>
                <a:gd name="connsiteY41" fmla="*/ 435432 h 849087"/>
                <a:gd name="connsiteX42" fmla="*/ 99237 w 923947"/>
                <a:gd name="connsiteY42" fmla="*/ 438308 h 849087"/>
                <a:gd name="connsiteX43" fmla="*/ 0 w 923947"/>
                <a:gd name="connsiteY43" fmla="*/ 441767 h 849087"/>
                <a:gd name="connsiteX44" fmla="*/ 19394 w 923947"/>
                <a:gd name="connsiteY44" fmla="*/ 407562 h 849087"/>
                <a:gd name="connsiteX45" fmla="*/ 42007 w 923947"/>
                <a:gd name="connsiteY45" fmla="*/ 373598 h 849087"/>
                <a:gd name="connsiteX46" fmla="*/ 65698 w 923947"/>
                <a:gd name="connsiteY46" fmla="*/ 340696 h 849087"/>
                <a:gd name="connsiteX47" fmla="*/ 91542 w 923947"/>
                <a:gd name="connsiteY47" fmla="*/ 307794 h 849087"/>
                <a:gd name="connsiteX48" fmla="*/ 118464 w 923947"/>
                <a:gd name="connsiteY48" fmla="*/ 277015 h 849087"/>
                <a:gd name="connsiteX49" fmla="*/ 147539 w 923947"/>
                <a:gd name="connsiteY49" fmla="*/ 248358 h 849087"/>
                <a:gd name="connsiteX50" fmla="*/ 176613 w 923947"/>
                <a:gd name="connsiteY50" fmla="*/ 219701 h 849087"/>
                <a:gd name="connsiteX51" fmla="*/ 207842 w 923947"/>
                <a:gd name="connsiteY51" fmla="*/ 193167 h 849087"/>
                <a:gd name="connsiteX52" fmla="*/ 241224 w 923947"/>
                <a:gd name="connsiteY52" fmla="*/ 168756 h 849087"/>
                <a:gd name="connsiteX53" fmla="*/ 274607 w 923947"/>
                <a:gd name="connsiteY53" fmla="*/ 144345 h 849087"/>
                <a:gd name="connsiteX54" fmla="*/ 309066 w 923947"/>
                <a:gd name="connsiteY54" fmla="*/ 123118 h 849087"/>
                <a:gd name="connsiteX55" fmla="*/ 345679 w 923947"/>
                <a:gd name="connsiteY55" fmla="*/ 101890 h 849087"/>
                <a:gd name="connsiteX56" fmla="*/ 382292 w 923947"/>
                <a:gd name="connsiteY56" fmla="*/ 83847 h 849087"/>
                <a:gd name="connsiteX57" fmla="*/ 421058 w 923947"/>
                <a:gd name="connsiteY57" fmla="*/ 66866 h 849087"/>
                <a:gd name="connsiteX58" fmla="*/ 459825 w 923947"/>
                <a:gd name="connsiteY58" fmla="*/ 50945 h 849087"/>
                <a:gd name="connsiteX59" fmla="*/ 499668 w 923947"/>
                <a:gd name="connsiteY59" fmla="*/ 38209 h 849087"/>
                <a:gd name="connsiteX0" fmla="*/ 239071 w 923947"/>
                <a:gd name="connsiteY0" fmla="*/ 849087 h 849087"/>
                <a:gd name="connsiteX1" fmla="*/ 240148 w 923947"/>
                <a:gd name="connsiteY1" fmla="*/ 822553 h 849087"/>
                <a:gd name="connsiteX2" fmla="*/ 239071 w 923947"/>
                <a:gd name="connsiteY2" fmla="*/ 849087 h 849087"/>
                <a:gd name="connsiteX3" fmla="*/ 499668 w 923947"/>
                <a:gd name="connsiteY3" fmla="*/ 38209 h 849087"/>
                <a:gd name="connsiteX4" fmla="*/ 540589 w 923947"/>
                <a:gd name="connsiteY4" fmla="*/ 26534 h 849087"/>
                <a:gd name="connsiteX5" fmla="*/ 582586 w 923947"/>
                <a:gd name="connsiteY5" fmla="*/ 16982 h 849087"/>
                <a:gd name="connsiteX6" fmla="*/ 624583 w 923947"/>
                <a:gd name="connsiteY6" fmla="*/ 9552 h 849087"/>
                <a:gd name="connsiteX7" fmla="*/ 667657 w 923947"/>
                <a:gd name="connsiteY7" fmla="*/ 4245 h 849087"/>
                <a:gd name="connsiteX8" fmla="*/ 711808 w 923947"/>
                <a:gd name="connsiteY8" fmla="*/ 1061 h 849087"/>
                <a:gd name="connsiteX9" fmla="*/ 755958 w 923947"/>
                <a:gd name="connsiteY9" fmla="*/ 0 h 849087"/>
                <a:gd name="connsiteX10" fmla="*/ 757035 w 923947"/>
                <a:gd name="connsiteY10" fmla="*/ 1061 h 849087"/>
                <a:gd name="connsiteX11" fmla="*/ 839953 w 923947"/>
                <a:gd name="connsiteY11" fmla="*/ 85970 h 849087"/>
                <a:gd name="connsiteX12" fmla="*/ 923947 w 923947"/>
                <a:gd name="connsiteY12" fmla="*/ 169817 h 849087"/>
                <a:gd name="connsiteX13" fmla="*/ 839953 w 923947"/>
                <a:gd name="connsiteY13" fmla="*/ 254726 h 849087"/>
                <a:gd name="connsiteX14" fmla="*/ 757036 w 923947"/>
                <a:gd name="connsiteY14" fmla="*/ 338573 h 849087"/>
                <a:gd name="connsiteX15" fmla="*/ 755958 w 923947"/>
                <a:gd name="connsiteY15" fmla="*/ 339635 h 849087"/>
                <a:gd name="connsiteX16" fmla="*/ 729037 w 923947"/>
                <a:gd name="connsiteY16" fmla="*/ 340696 h 849087"/>
                <a:gd name="connsiteX17" fmla="*/ 703193 w 923947"/>
                <a:gd name="connsiteY17" fmla="*/ 341758 h 849087"/>
                <a:gd name="connsiteX18" fmla="*/ 677349 w 923947"/>
                <a:gd name="connsiteY18" fmla="*/ 346003 h 849087"/>
                <a:gd name="connsiteX19" fmla="*/ 651504 w 923947"/>
                <a:gd name="connsiteY19" fmla="*/ 350248 h 849087"/>
                <a:gd name="connsiteX20" fmla="*/ 626737 w 923947"/>
                <a:gd name="connsiteY20" fmla="*/ 355555 h 849087"/>
                <a:gd name="connsiteX21" fmla="*/ 601969 w 923947"/>
                <a:gd name="connsiteY21" fmla="*/ 362985 h 849087"/>
                <a:gd name="connsiteX22" fmla="*/ 578278 w 923947"/>
                <a:gd name="connsiteY22" fmla="*/ 370414 h 849087"/>
                <a:gd name="connsiteX23" fmla="*/ 554588 w 923947"/>
                <a:gd name="connsiteY23" fmla="*/ 379966 h 849087"/>
                <a:gd name="connsiteX24" fmla="*/ 531974 w 923947"/>
                <a:gd name="connsiteY24" fmla="*/ 389519 h 849087"/>
                <a:gd name="connsiteX25" fmla="*/ 509360 w 923947"/>
                <a:gd name="connsiteY25" fmla="*/ 401194 h 849087"/>
                <a:gd name="connsiteX26" fmla="*/ 487823 w 923947"/>
                <a:gd name="connsiteY26" fmla="*/ 412869 h 849087"/>
                <a:gd name="connsiteX27" fmla="*/ 467363 w 923947"/>
                <a:gd name="connsiteY27" fmla="*/ 426666 h 849087"/>
                <a:gd name="connsiteX28" fmla="*/ 446903 w 923947"/>
                <a:gd name="connsiteY28" fmla="*/ 440464 h 849087"/>
                <a:gd name="connsiteX29" fmla="*/ 427519 w 923947"/>
                <a:gd name="connsiteY29" fmla="*/ 456384 h 849087"/>
                <a:gd name="connsiteX30" fmla="*/ 408136 w 923947"/>
                <a:gd name="connsiteY30" fmla="*/ 472305 h 849087"/>
                <a:gd name="connsiteX31" fmla="*/ 389830 w 923947"/>
                <a:gd name="connsiteY31" fmla="*/ 489286 h 849087"/>
                <a:gd name="connsiteX32" fmla="*/ 373677 w 923947"/>
                <a:gd name="connsiteY32" fmla="*/ 506268 h 849087"/>
                <a:gd name="connsiteX33" fmla="*/ 357524 w 923947"/>
                <a:gd name="connsiteY33" fmla="*/ 525373 h 849087"/>
                <a:gd name="connsiteX34" fmla="*/ 341372 w 923947"/>
                <a:gd name="connsiteY34" fmla="*/ 544477 h 849087"/>
                <a:gd name="connsiteX35" fmla="*/ 327372 w 923947"/>
                <a:gd name="connsiteY35" fmla="*/ 564643 h 849087"/>
                <a:gd name="connsiteX36" fmla="*/ 313373 w 923947"/>
                <a:gd name="connsiteY36" fmla="*/ 584809 h 849087"/>
                <a:gd name="connsiteX37" fmla="*/ 301528 w 923947"/>
                <a:gd name="connsiteY37" fmla="*/ 606036 h 849087"/>
                <a:gd name="connsiteX38" fmla="*/ 297556 w 923947"/>
                <a:gd name="connsiteY38" fmla="*/ 613510 h 849087"/>
                <a:gd name="connsiteX39" fmla="*/ 252865 w 923947"/>
                <a:gd name="connsiteY39" fmla="*/ 528779 h 849087"/>
                <a:gd name="connsiteX40" fmla="*/ 203632 w 923947"/>
                <a:gd name="connsiteY40" fmla="*/ 435432 h 849087"/>
                <a:gd name="connsiteX41" fmla="*/ 99237 w 923947"/>
                <a:gd name="connsiteY41" fmla="*/ 438308 h 849087"/>
                <a:gd name="connsiteX42" fmla="*/ 0 w 923947"/>
                <a:gd name="connsiteY42" fmla="*/ 441767 h 849087"/>
                <a:gd name="connsiteX43" fmla="*/ 19394 w 923947"/>
                <a:gd name="connsiteY43" fmla="*/ 407562 h 849087"/>
                <a:gd name="connsiteX44" fmla="*/ 42007 w 923947"/>
                <a:gd name="connsiteY44" fmla="*/ 373598 h 849087"/>
                <a:gd name="connsiteX45" fmla="*/ 65698 w 923947"/>
                <a:gd name="connsiteY45" fmla="*/ 340696 h 849087"/>
                <a:gd name="connsiteX46" fmla="*/ 91542 w 923947"/>
                <a:gd name="connsiteY46" fmla="*/ 307794 h 849087"/>
                <a:gd name="connsiteX47" fmla="*/ 118464 w 923947"/>
                <a:gd name="connsiteY47" fmla="*/ 277015 h 849087"/>
                <a:gd name="connsiteX48" fmla="*/ 147539 w 923947"/>
                <a:gd name="connsiteY48" fmla="*/ 248358 h 849087"/>
                <a:gd name="connsiteX49" fmla="*/ 176613 w 923947"/>
                <a:gd name="connsiteY49" fmla="*/ 219701 h 849087"/>
                <a:gd name="connsiteX50" fmla="*/ 207842 w 923947"/>
                <a:gd name="connsiteY50" fmla="*/ 193167 h 849087"/>
                <a:gd name="connsiteX51" fmla="*/ 241224 w 923947"/>
                <a:gd name="connsiteY51" fmla="*/ 168756 h 849087"/>
                <a:gd name="connsiteX52" fmla="*/ 274607 w 923947"/>
                <a:gd name="connsiteY52" fmla="*/ 144345 h 849087"/>
                <a:gd name="connsiteX53" fmla="*/ 309066 w 923947"/>
                <a:gd name="connsiteY53" fmla="*/ 123118 h 849087"/>
                <a:gd name="connsiteX54" fmla="*/ 345679 w 923947"/>
                <a:gd name="connsiteY54" fmla="*/ 101890 h 849087"/>
                <a:gd name="connsiteX55" fmla="*/ 382292 w 923947"/>
                <a:gd name="connsiteY55" fmla="*/ 83847 h 849087"/>
                <a:gd name="connsiteX56" fmla="*/ 421058 w 923947"/>
                <a:gd name="connsiteY56" fmla="*/ 66866 h 849087"/>
                <a:gd name="connsiteX57" fmla="*/ 459825 w 923947"/>
                <a:gd name="connsiteY57" fmla="*/ 50945 h 849087"/>
                <a:gd name="connsiteX58" fmla="*/ 499668 w 923947"/>
                <a:gd name="connsiteY58" fmla="*/ 38209 h 849087"/>
                <a:gd name="connsiteX0" fmla="*/ 499668 w 923947"/>
                <a:gd name="connsiteY0" fmla="*/ 38209 h 613510"/>
                <a:gd name="connsiteX1" fmla="*/ 540589 w 923947"/>
                <a:gd name="connsiteY1" fmla="*/ 26534 h 613510"/>
                <a:gd name="connsiteX2" fmla="*/ 582586 w 923947"/>
                <a:gd name="connsiteY2" fmla="*/ 16982 h 613510"/>
                <a:gd name="connsiteX3" fmla="*/ 624583 w 923947"/>
                <a:gd name="connsiteY3" fmla="*/ 9552 h 613510"/>
                <a:gd name="connsiteX4" fmla="*/ 667657 w 923947"/>
                <a:gd name="connsiteY4" fmla="*/ 4245 h 613510"/>
                <a:gd name="connsiteX5" fmla="*/ 711808 w 923947"/>
                <a:gd name="connsiteY5" fmla="*/ 1061 h 613510"/>
                <a:gd name="connsiteX6" fmla="*/ 755958 w 923947"/>
                <a:gd name="connsiteY6" fmla="*/ 0 h 613510"/>
                <a:gd name="connsiteX7" fmla="*/ 757035 w 923947"/>
                <a:gd name="connsiteY7" fmla="*/ 1061 h 613510"/>
                <a:gd name="connsiteX8" fmla="*/ 839953 w 923947"/>
                <a:gd name="connsiteY8" fmla="*/ 85970 h 613510"/>
                <a:gd name="connsiteX9" fmla="*/ 923947 w 923947"/>
                <a:gd name="connsiteY9" fmla="*/ 169817 h 613510"/>
                <a:gd name="connsiteX10" fmla="*/ 839953 w 923947"/>
                <a:gd name="connsiteY10" fmla="*/ 254726 h 613510"/>
                <a:gd name="connsiteX11" fmla="*/ 757036 w 923947"/>
                <a:gd name="connsiteY11" fmla="*/ 338573 h 613510"/>
                <a:gd name="connsiteX12" fmla="*/ 755958 w 923947"/>
                <a:gd name="connsiteY12" fmla="*/ 339635 h 613510"/>
                <a:gd name="connsiteX13" fmla="*/ 729037 w 923947"/>
                <a:gd name="connsiteY13" fmla="*/ 340696 h 613510"/>
                <a:gd name="connsiteX14" fmla="*/ 703193 w 923947"/>
                <a:gd name="connsiteY14" fmla="*/ 341758 h 613510"/>
                <a:gd name="connsiteX15" fmla="*/ 677349 w 923947"/>
                <a:gd name="connsiteY15" fmla="*/ 346003 h 613510"/>
                <a:gd name="connsiteX16" fmla="*/ 651504 w 923947"/>
                <a:gd name="connsiteY16" fmla="*/ 350248 h 613510"/>
                <a:gd name="connsiteX17" fmla="*/ 626737 w 923947"/>
                <a:gd name="connsiteY17" fmla="*/ 355555 h 613510"/>
                <a:gd name="connsiteX18" fmla="*/ 601969 w 923947"/>
                <a:gd name="connsiteY18" fmla="*/ 362985 h 613510"/>
                <a:gd name="connsiteX19" fmla="*/ 578278 w 923947"/>
                <a:gd name="connsiteY19" fmla="*/ 370414 h 613510"/>
                <a:gd name="connsiteX20" fmla="*/ 554588 w 923947"/>
                <a:gd name="connsiteY20" fmla="*/ 379966 h 613510"/>
                <a:gd name="connsiteX21" fmla="*/ 531974 w 923947"/>
                <a:gd name="connsiteY21" fmla="*/ 389519 h 613510"/>
                <a:gd name="connsiteX22" fmla="*/ 509360 w 923947"/>
                <a:gd name="connsiteY22" fmla="*/ 401194 h 613510"/>
                <a:gd name="connsiteX23" fmla="*/ 487823 w 923947"/>
                <a:gd name="connsiteY23" fmla="*/ 412869 h 613510"/>
                <a:gd name="connsiteX24" fmla="*/ 467363 w 923947"/>
                <a:gd name="connsiteY24" fmla="*/ 426666 h 613510"/>
                <a:gd name="connsiteX25" fmla="*/ 446903 w 923947"/>
                <a:gd name="connsiteY25" fmla="*/ 440464 h 613510"/>
                <a:gd name="connsiteX26" fmla="*/ 427519 w 923947"/>
                <a:gd name="connsiteY26" fmla="*/ 456384 h 613510"/>
                <a:gd name="connsiteX27" fmla="*/ 408136 w 923947"/>
                <a:gd name="connsiteY27" fmla="*/ 472305 h 613510"/>
                <a:gd name="connsiteX28" fmla="*/ 389830 w 923947"/>
                <a:gd name="connsiteY28" fmla="*/ 489286 h 613510"/>
                <a:gd name="connsiteX29" fmla="*/ 373677 w 923947"/>
                <a:gd name="connsiteY29" fmla="*/ 506268 h 613510"/>
                <a:gd name="connsiteX30" fmla="*/ 357524 w 923947"/>
                <a:gd name="connsiteY30" fmla="*/ 525373 h 613510"/>
                <a:gd name="connsiteX31" fmla="*/ 341372 w 923947"/>
                <a:gd name="connsiteY31" fmla="*/ 544477 h 613510"/>
                <a:gd name="connsiteX32" fmla="*/ 327372 w 923947"/>
                <a:gd name="connsiteY32" fmla="*/ 564643 h 613510"/>
                <a:gd name="connsiteX33" fmla="*/ 313373 w 923947"/>
                <a:gd name="connsiteY33" fmla="*/ 584809 h 613510"/>
                <a:gd name="connsiteX34" fmla="*/ 301528 w 923947"/>
                <a:gd name="connsiteY34" fmla="*/ 606036 h 613510"/>
                <a:gd name="connsiteX35" fmla="*/ 297556 w 923947"/>
                <a:gd name="connsiteY35" fmla="*/ 613510 h 613510"/>
                <a:gd name="connsiteX36" fmla="*/ 252865 w 923947"/>
                <a:gd name="connsiteY36" fmla="*/ 528779 h 613510"/>
                <a:gd name="connsiteX37" fmla="*/ 203632 w 923947"/>
                <a:gd name="connsiteY37" fmla="*/ 435432 h 613510"/>
                <a:gd name="connsiteX38" fmla="*/ 99237 w 923947"/>
                <a:gd name="connsiteY38" fmla="*/ 438308 h 613510"/>
                <a:gd name="connsiteX39" fmla="*/ 0 w 923947"/>
                <a:gd name="connsiteY39" fmla="*/ 441767 h 613510"/>
                <a:gd name="connsiteX40" fmla="*/ 19394 w 923947"/>
                <a:gd name="connsiteY40" fmla="*/ 407562 h 613510"/>
                <a:gd name="connsiteX41" fmla="*/ 42007 w 923947"/>
                <a:gd name="connsiteY41" fmla="*/ 373598 h 613510"/>
                <a:gd name="connsiteX42" fmla="*/ 65698 w 923947"/>
                <a:gd name="connsiteY42" fmla="*/ 340696 h 613510"/>
                <a:gd name="connsiteX43" fmla="*/ 91542 w 923947"/>
                <a:gd name="connsiteY43" fmla="*/ 307794 h 613510"/>
                <a:gd name="connsiteX44" fmla="*/ 118464 w 923947"/>
                <a:gd name="connsiteY44" fmla="*/ 277015 h 613510"/>
                <a:gd name="connsiteX45" fmla="*/ 147539 w 923947"/>
                <a:gd name="connsiteY45" fmla="*/ 248358 h 613510"/>
                <a:gd name="connsiteX46" fmla="*/ 176613 w 923947"/>
                <a:gd name="connsiteY46" fmla="*/ 219701 h 613510"/>
                <a:gd name="connsiteX47" fmla="*/ 207842 w 923947"/>
                <a:gd name="connsiteY47" fmla="*/ 193167 h 613510"/>
                <a:gd name="connsiteX48" fmla="*/ 241224 w 923947"/>
                <a:gd name="connsiteY48" fmla="*/ 168756 h 613510"/>
                <a:gd name="connsiteX49" fmla="*/ 274607 w 923947"/>
                <a:gd name="connsiteY49" fmla="*/ 144345 h 613510"/>
                <a:gd name="connsiteX50" fmla="*/ 309066 w 923947"/>
                <a:gd name="connsiteY50" fmla="*/ 123118 h 613510"/>
                <a:gd name="connsiteX51" fmla="*/ 345679 w 923947"/>
                <a:gd name="connsiteY51" fmla="*/ 101890 h 613510"/>
                <a:gd name="connsiteX52" fmla="*/ 382292 w 923947"/>
                <a:gd name="connsiteY52" fmla="*/ 83847 h 613510"/>
                <a:gd name="connsiteX53" fmla="*/ 421058 w 923947"/>
                <a:gd name="connsiteY53" fmla="*/ 66866 h 613510"/>
                <a:gd name="connsiteX54" fmla="*/ 459825 w 923947"/>
                <a:gd name="connsiteY54" fmla="*/ 50945 h 613510"/>
                <a:gd name="connsiteX55" fmla="*/ 499668 w 923947"/>
                <a:gd name="connsiteY55" fmla="*/ 38209 h 613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23947" h="613510">
                  <a:moveTo>
                    <a:pt x="499668" y="38209"/>
                  </a:moveTo>
                  <a:lnTo>
                    <a:pt x="540589" y="26534"/>
                  </a:lnTo>
                  <a:lnTo>
                    <a:pt x="582586" y="16982"/>
                  </a:lnTo>
                  <a:lnTo>
                    <a:pt x="624583" y="9552"/>
                  </a:lnTo>
                  <a:lnTo>
                    <a:pt x="667657" y="4245"/>
                  </a:lnTo>
                  <a:lnTo>
                    <a:pt x="711808" y="1061"/>
                  </a:lnTo>
                  <a:lnTo>
                    <a:pt x="755958" y="0"/>
                  </a:lnTo>
                  <a:lnTo>
                    <a:pt x="757035" y="1061"/>
                  </a:lnTo>
                  <a:lnTo>
                    <a:pt x="839953" y="85970"/>
                  </a:lnTo>
                  <a:lnTo>
                    <a:pt x="923947" y="169817"/>
                  </a:lnTo>
                  <a:lnTo>
                    <a:pt x="839953" y="254726"/>
                  </a:lnTo>
                  <a:lnTo>
                    <a:pt x="757036" y="338573"/>
                  </a:lnTo>
                  <a:lnTo>
                    <a:pt x="755958" y="339635"/>
                  </a:lnTo>
                  <a:lnTo>
                    <a:pt x="729037" y="340696"/>
                  </a:lnTo>
                  <a:lnTo>
                    <a:pt x="703193" y="341758"/>
                  </a:lnTo>
                  <a:lnTo>
                    <a:pt x="677349" y="346003"/>
                  </a:lnTo>
                  <a:lnTo>
                    <a:pt x="651504" y="350248"/>
                  </a:lnTo>
                  <a:lnTo>
                    <a:pt x="626737" y="355555"/>
                  </a:lnTo>
                  <a:lnTo>
                    <a:pt x="601969" y="362985"/>
                  </a:lnTo>
                  <a:lnTo>
                    <a:pt x="578278" y="370414"/>
                  </a:lnTo>
                  <a:lnTo>
                    <a:pt x="554588" y="379966"/>
                  </a:lnTo>
                  <a:lnTo>
                    <a:pt x="531974" y="389519"/>
                  </a:lnTo>
                  <a:lnTo>
                    <a:pt x="509360" y="401194"/>
                  </a:lnTo>
                  <a:lnTo>
                    <a:pt x="487823" y="412869"/>
                  </a:lnTo>
                  <a:lnTo>
                    <a:pt x="467363" y="426666"/>
                  </a:lnTo>
                  <a:lnTo>
                    <a:pt x="446903" y="440464"/>
                  </a:lnTo>
                  <a:lnTo>
                    <a:pt x="427519" y="456384"/>
                  </a:lnTo>
                  <a:lnTo>
                    <a:pt x="408136" y="472305"/>
                  </a:lnTo>
                  <a:lnTo>
                    <a:pt x="389830" y="489286"/>
                  </a:lnTo>
                  <a:lnTo>
                    <a:pt x="373677" y="506268"/>
                  </a:lnTo>
                  <a:lnTo>
                    <a:pt x="357524" y="525373"/>
                  </a:lnTo>
                  <a:lnTo>
                    <a:pt x="341372" y="544477"/>
                  </a:lnTo>
                  <a:lnTo>
                    <a:pt x="327372" y="564643"/>
                  </a:lnTo>
                  <a:lnTo>
                    <a:pt x="313373" y="584809"/>
                  </a:lnTo>
                  <a:lnTo>
                    <a:pt x="301528" y="606036"/>
                  </a:lnTo>
                  <a:lnTo>
                    <a:pt x="297556" y="613510"/>
                  </a:lnTo>
                  <a:lnTo>
                    <a:pt x="252865" y="528779"/>
                  </a:lnTo>
                  <a:lnTo>
                    <a:pt x="203632" y="435432"/>
                  </a:lnTo>
                  <a:lnTo>
                    <a:pt x="99237" y="438308"/>
                  </a:lnTo>
                  <a:lnTo>
                    <a:pt x="0" y="441767"/>
                  </a:lnTo>
                  <a:lnTo>
                    <a:pt x="19394" y="407562"/>
                  </a:lnTo>
                  <a:lnTo>
                    <a:pt x="42007" y="373598"/>
                  </a:lnTo>
                  <a:lnTo>
                    <a:pt x="65698" y="340696"/>
                  </a:lnTo>
                  <a:lnTo>
                    <a:pt x="91542" y="307794"/>
                  </a:lnTo>
                  <a:lnTo>
                    <a:pt x="118464" y="277015"/>
                  </a:lnTo>
                  <a:lnTo>
                    <a:pt x="147539" y="248358"/>
                  </a:lnTo>
                  <a:lnTo>
                    <a:pt x="176613" y="219701"/>
                  </a:lnTo>
                  <a:lnTo>
                    <a:pt x="207842" y="193167"/>
                  </a:lnTo>
                  <a:lnTo>
                    <a:pt x="241224" y="168756"/>
                  </a:lnTo>
                  <a:lnTo>
                    <a:pt x="274607" y="144345"/>
                  </a:lnTo>
                  <a:lnTo>
                    <a:pt x="309066" y="123118"/>
                  </a:lnTo>
                  <a:lnTo>
                    <a:pt x="345679" y="101890"/>
                  </a:lnTo>
                  <a:lnTo>
                    <a:pt x="382292" y="83847"/>
                  </a:lnTo>
                  <a:lnTo>
                    <a:pt x="421058" y="66866"/>
                  </a:lnTo>
                  <a:lnTo>
                    <a:pt x="459825" y="50945"/>
                  </a:lnTo>
                  <a:lnTo>
                    <a:pt x="499668" y="38209"/>
                  </a:lnTo>
                  <a:close/>
                </a:path>
              </a:pathLst>
            </a:custGeom>
            <a:grpFill/>
            <a:ln w="6350" cmpd="sng">
              <a:solidFill>
                <a:schemeClr val="tx2">
                  <a:alpha val="60000"/>
                </a:schemeClr>
              </a:solidFill>
              <a:prstDash val="solid"/>
              <a:round/>
              <a:headEnd/>
              <a:tailEnd/>
            </a:ln>
          </p:spPr>
          <p:txBody>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124191"/>
                </a:solidFill>
                <a:effectLst/>
                <a:uLnTx/>
                <a:uFillTx/>
                <a:latin typeface="Nokia Pure Headline Light"/>
                <a:ea typeface="+mn-ea"/>
                <a:cs typeface="+mn-cs"/>
              </a:endParaRPr>
            </a:p>
          </p:txBody>
        </p:sp>
        <p:sp>
          <p:nvSpPr>
            <p:cNvPr id="286" name="Freeform 138"/>
            <p:cNvSpPr>
              <a:spLocks/>
            </p:cNvSpPr>
            <p:nvPr/>
          </p:nvSpPr>
          <p:spPr bwMode="auto">
            <a:xfrm rot="1000857">
              <a:off x="7184698" y="1816874"/>
              <a:ext cx="1029468" cy="849087"/>
            </a:xfrm>
            <a:custGeom>
              <a:avLst/>
              <a:gdLst>
                <a:gd name="T0" fmla="*/ 495300 w 1912"/>
                <a:gd name="T1" fmla="*/ 2540000 h 1600"/>
                <a:gd name="T2" fmla="*/ 755650 w 1912"/>
                <a:gd name="T3" fmla="*/ 2527300 h 1600"/>
                <a:gd name="T4" fmla="*/ 1006475 w 1912"/>
                <a:gd name="T5" fmla="*/ 2486025 h 1600"/>
                <a:gd name="T6" fmla="*/ 1250950 w 1912"/>
                <a:gd name="T7" fmla="*/ 2425700 h 1600"/>
                <a:gd name="T8" fmla="*/ 1482725 w 1912"/>
                <a:gd name="T9" fmla="*/ 2339975 h 1600"/>
                <a:gd name="T10" fmla="*/ 1704975 w 1912"/>
                <a:gd name="T11" fmla="*/ 2232025 h 1600"/>
                <a:gd name="T12" fmla="*/ 1914525 w 1912"/>
                <a:gd name="T13" fmla="*/ 2105025 h 1600"/>
                <a:gd name="T14" fmla="*/ 2111375 w 1912"/>
                <a:gd name="T15" fmla="*/ 1958975 h 1600"/>
                <a:gd name="T16" fmla="*/ 2289175 w 1912"/>
                <a:gd name="T17" fmla="*/ 1797050 h 1600"/>
                <a:gd name="T18" fmla="*/ 2454275 w 1912"/>
                <a:gd name="T19" fmla="*/ 1616075 h 1600"/>
                <a:gd name="T20" fmla="*/ 2600325 w 1912"/>
                <a:gd name="T21" fmla="*/ 1422400 h 1600"/>
                <a:gd name="T22" fmla="*/ 2727325 w 1912"/>
                <a:gd name="T23" fmla="*/ 1212850 h 1600"/>
                <a:gd name="T24" fmla="*/ 2835275 w 1912"/>
                <a:gd name="T25" fmla="*/ 990600 h 1600"/>
                <a:gd name="T26" fmla="*/ 2921000 w 1912"/>
                <a:gd name="T27" fmla="*/ 758825 h 1600"/>
                <a:gd name="T28" fmla="*/ 2984500 w 1912"/>
                <a:gd name="T29" fmla="*/ 514350 h 1600"/>
                <a:gd name="T30" fmla="*/ 3022600 w 1912"/>
                <a:gd name="T31" fmla="*/ 263525 h 1600"/>
                <a:gd name="T32" fmla="*/ 3035300 w 1912"/>
                <a:gd name="T33" fmla="*/ 3175 h 1600"/>
                <a:gd name="T34" fmla="*/ 2530475 w 1912"/>
                <a:gd name="T35" fmla="*/ 495300 h 1600"/>
                <a:gd name="T36" fmla="*/ 2025650 w 1912"/>
                <a:gd name="T37" fmla="*/ 3175 h 1600"/>
                <a:gd name="T38" fmla="*/ 2019300 w 1912"/>
                <a:gd name="T39" fmla="*/ 0 h 1600"/>
                <a:gd name="T40" fmla="*/ 2012950 w 1912"/>
                <a:gd name="T41" fmla="*/ 155575 h 1600"/>
                <a:gd name="T42" fmla="*/ 1987550 w 1912"/>
                <a:gd name="T43" fmla="*/ 304800 h 1600"/>
                <a:gd name="T44" fmla="*/ 1949450 w 1912"/>
                <a:gd name="T45" fmla="*/ 450850 h 1600"/>
                <a:gd name="T46" fmla="*/ 1898650 w 1912"/>
                <a:gd name="T47" fmla="*/ 593725 h 1600"/>
                <a:gd name="T48" fmla="*/ 1835150 w 1912"/>
                <a:gd name="T49" fmla="*/ 727075 h 1600"/>
                <a:gd name="T50" fmla="*/ 1758950 w 1912"/>
                <a:gd name="T51" fmla="*/ 850900 h 1600"/>
                <a:gd name="T52" fmla="*/ 1670050 w 1912"/>
                <a:gd name="T53" fmla="*/ 968375 h 1600"/>
                <a:gd name="T54" fmla="*/ 1574800 w 1912"/>
                <a:gd name="T55" fmla="*/ 1076325 h 1600"/>
                <a:gd name="T56" fmla="*/ 1463675 w 1912"/>
                <a:gd name="T57" fmla="*/ 1174750 h 1600"/>
                <a:gd name="T58" fmla="*/ 1346200 w 1912"/>
                <a:gd name="T59" fmla="*/ 1263650 h 1600"/>
                <a:gd name="T60" fmla="*/ 1222375 w 1912"/>
                <a:gd name="T61" fmla="*/ 1339850 h 1600"/>
                <a:gd name="T62" fmla="*/ 1089025 w 1912"/>
                <a:gd name="T63" fmla="*/ 1403350 h 1600"/>
                <a:gd name="T64" fmla="*/ 949325 w 1912"/>
                <a:gd name="T65" fmla="*/ 1454150 h 1600"/>
                <a:gd name="T66" fmla="*/ 803275 w 1912"/>
                <a:gd name="T67" fmla="*/ 1492250 h 1600"/>
                <a:gd name="T68" fmla="*/ 650875 w 1912"/>
                <a:gd name="T69" fmla="*/ 1514475 h 1600"/>
                <a:gd name="T70" fmla="*/ 495300 w 1912"/>
                <a:gd name="T71" fmla="*/ 1524000 h 1600"/>
                <a:gd name="T72" fmla="*/ 247650 w 1912"/>
                <a:gd name="T73" fmla="*/ 1778000 h 1600"/>
                <a:gd name="T74" fmla="*/ 247650 w 1912"/>
                <a:gd name="T75" fmla="*/ 2282825 h 1600"/>
                <a:gd name="T76" fmla="*/ 495300 w 1912"/>
                <a:gd name="T77" fmla="*/ 2540000 h 160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912" h="1600">
                  <a:moveTo>
                    <a:pt x="312" y="1600"/>
                  </a:moveTo>
                  <a:lnTo>
                    <a:pt x="312" y="1600"/>
                  </a:lnTo>
                  <a:lnTo>
                    <a:pt x="394" y="1598"/>
                  </a:lnTo>
                  <a:lnTo>
                    <a:pt x="476" y="1592"/>
                  </a:lnTo>
                  <a:lnTo>
                    <a:pt x="556" y="1580"/>
                  </a:lnTo>
                  <a:lnTo>
                    <a:pt x="634" y="1566"/>
                  </a:lnTo>
                  <a:lnTo>
                    <a:pt x="712" y="1550"/>
                  </a:lnTo>
                  <a:lnTo>
                    <a:pt x="788" y="1528"/>
                  </a:lnTo>
                  <a:lnTo>
                    <a:pt x="862" y="1502"/>
                  </a:lnTo>
                  <a:lnTo>
                    <a:pt x="934" y="1474"/>
                  </a:lnTo>
                  <a:lnTo>
                    <a:pt x="1006" y="1442"/>
                  </a:lnTo>
                  <a:lnTo>
                    <a:pt x="1074" y="1406"/>
                  </a:lnTo>
                  <a:lnTo>
                    <a:pt x="1142" y="1368"/>
                  </a:lnTo>
                  <a:lnTo>
                    <a:pt x="1206" y="1326"/>
                  </a:lnTo>
                  <a:lnTo>
                    <a:pt x="1268" y="1282"/>
                  </a:lnTo>
                  <a:lnTo>
                    <a:pt x="1330" y="1234"/>
                  </a:lnTo>
                  <a:lnTo>
                    <a:pt x="1388" y="1184"/>
                  </a:lnTo>
                  <a:lnTo>
                    <a:pt x="1442" y="1132"/>
                  </a:lnTo>
                  <a:lnTo>
                    <a:pt x="1496" y="1076"/>
                  </a:lnTo>
                  <a:lnTo>
                    <a:pt x="1546" y="1018"/>
                  </a:lnTo>
                  <a:lnTo>
                    <a:pt x="1594" y="958"/>
                  </a:lnTo>
                  <a:lnTo>
                    <a:pt x="1638" y="896"/>
                  </a:lnTo>
                  <a:lnTo>
                    <a:pt x="1680" y="830"/>
                  </a:lnTo>
                  <a:lnTo>
                    <a:pt x="1718" y="764"/>
                  </a:lnTo>
                  <a:lnTo>
                    <a:pt x="1754" y="694"/>
                  </a:lnTo>
                  <a:lnTo>
                    <a:pt x="1786" y="624"/>
                  </a:lnTo>
                  <a:lnTo>
                    <a:pt x="1814" y="552"/>
                  </a:lnTo>
                  <a:lnTo>
                    <a:pt x="1840" y="478"/>
                  </a:lnTo>
                  <a:lnTo>
                    <a:pt x="1862" y="402"/>
                  </a:lnTo>
                  <a:lnTo>
                    <a:pt x="1880" y="324"/>
                  </a:lnTo>
                  <a:lnTo>
                    <a:pt x="1894" y="246"/>
                  </a:lnTo>
                  <a:lnTo>
                    <a:pt x="1904" y="166"/>
                  </a:lnTo>
                  <a:lnTo>
                    <a:pt x="1910" y="84"/>
                  </a:lnTo>
                  <a:lnTo>
                    <a:pt x="1912" y="2"/>
                  </a:lnTo>
                  <a:lnTo>
                    <a:pt x="1754" y="158"/>
                  </a:lnTo>
                  <a:lnTo>
                    <a:pt x="1594" y="312"/>
                  </a:lnTo>
                  <a:lnTo>
                    <a:pt x="1436" y="158"/>
                  </a:lnTo>
                  <a:lnTo>
                    <a:pt x="1276" y="2"/>
                  </a:lnTo>
                  <a:lnTo>
                    <a:pt x="1272" y="0"/>
                  </a:lnTo>
                  <a:lnTo>
                    <a:pt x="1270" y="48"/>
                  </a:lnTo>
                  <a:lnTo>
                    <a:pt x="1268" y="98"/>
                  </a:lnTo>
                  <a:lnTo>
                    <a:pt x="1260" y="146"/>
                  </a:lnTo>
                  <a:lnTo>
                    <a:pt x="1252" y="192"/>
                  </a:lnTo>
                  <a:lnTo>
                    <a:pt x="1242" y="240"/>
                  </a:lnTo>
                  <a:lnTo>
                    <a:pt x="1228" y="284"/>
                  </a:lnTo>
                  <a:lnTo>
                    <a:pt x="1214" y="330"/>
                  </a:lnTo>
                  <a:lnTo>
                    <a:pt x="1196" y="374"/>
                  </a:lnTo>
                  <a:lnTo>
                    <a:pt x="1178" y="416"/>
                  </a:lnTo>
                  <a:lnTo>
                    <a:pt x="1156" y="458"/>
                  </a:lnTo>
                  <a:lnTo>
                    <a:pt x="1134" y="498"/>
                  </a:lnTo>
                  <a:lnTo>
                    <a:pt x="1108" y="536"/>
                  </a:lnTo>
                  <a:lnTo>
                    <a:pt x="1082" y="574"/>
                  </a:lnTo>
                  <a:lnTo>
                    <a:pt x="1052" y="610"/>
                  </a:lnTo>
                  <a:lnTo>
                    <a:pt x="1022" y="644"/>
                  </a:lnTo>
                  <a:lnTo>
                    <a:pt x="992" y="678"/>
                  </a:lnTo>
                  <a:lnTo>
                    <a:pt x="958" y="710"/>
                  </a:lnTo>
                  <a:lnTo>
                    <a:pt x="922" y="740"/>
                  </a:lnTo>
                  <a:lnTo>
                    <a:pt x="886" y="768"/>
                  </a:lnTo>
                  <a:lnTo>
                    <a:pt x="848" y="796"/>
                  </a:lnTo>
                  <a:lnTo>
                    <a:pt x="810" y="820"/>
                  </a:lnTo>
                  <a:lnTo>
                    <a:pt x="770" y="844"/>
                  </a:lnTo>
                  <a:lnTo>
                    <a:pt x="728" y="864"/>
                  </a:lnTo>
                  <a:lnTo>
                    <a:pt x="686" y="884"/>
                  </a:lnTo>
                  <a:lnTo>
                    <a:pt x="642" y="902"/>
                  </a:lnTo>
                  <a:lnTo>
                    <a:pt x="598" y="916"/>
                  </a:lnTo>
                  <a:lnTo>
                    <a:pt x="552" y="930"/>
                  </a:lnTo>
                  <a:lnTo>
                    <a:pt x="506" y="940"/>
                  </a:lnTo>
                  <a:lnTo>
                    <a:pt x="458" y="948"/>
                  </a:lnTo>
                  <a:lnTo>
                    <a:pt x="410" y="954"/>
                  </a:lnTo>
                  <a:lnTo>
                    <a:pt x="362" y="958"/>
                  </a:lnTo>
                  <a:lnTo>
                    <a:pt x="312" y="960"/>
                  </a:lnTo>
                  <a:lnTo>
                    <a:pt x="310" y="962"/>
                  </a:lnTo>
                  <a:lnTo>
                    <a:pt x="156" y="1120"/>
                  </a:lnTo>
                  <a:lnTo>
                    <a:pt x="0" y="1280"/>
                  </a:lnTo>
                  <a:lnTo>
                    <a:pt x="156" y="1438"/>
                  </a:lnTo>
                  <a:lnTo>
                    <a:pt x="310" y="1596"/>
                  </a:lnTo>
                  <a:lnTo>
                    <a:pt x="312" y="1600"/>
                  </a:lnTo>
                  <a:close/>
                </a:path>
              </a:pathLst>
            </a:custGeom>
            <a:grpFill/>
            <a:ln w="6350" cmpd="sng">
              <a:solidFill>
                <a:schemeClr val="tx2">
                  <a:alpha val="60000"/>
                </a:schemeClr>
              </a:solidFill>
              <a:prstDash val="solid"/>
              <a:round/>
              <a:headEnd/>
              <a:tailEnd/>
            </a:ln>
          </p:spPr>
          <p:txBody>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124191"/>
                </a:solidFill>
                <a:effectLst/>
                <a:uLnTx/>
                <a:uFillTx/>
                <a:latin typeface="Nokia Pure Headline Light"/>
                <a:ea typeface="+mn-ea"/>
                <a:cs typeface="+mn-cs"/>
              </a:endParaRPr>
            </a:p>
          </p:txBody>
        </p:sp>
        <p:sp>
          <p:nvSpPr>
            <p:cNvPr id="287" name="Freeform 3"/>
            <p:cNvSpPr>
              <a:spLocks/>
            </p:cNvSpPr>
            <p:nvPr/>
          </p:nvSpPr>
          <p:spPr bwMode="auto">
            <a:xfrm rot="178732" flipH="1">
              <a:off x="5324705" y="872226"/>
              <a:ext cx="818003" cy="829514"/>
            </a:xfrm>
            <a:custGeom>
              <a:avLst/>
              <a:gdLst>
                <a:gd name="T0" fmla="*/ 2419350 w 1524"/>
                <a:gd name="T1" fmla="*/ 1762125 h 1568"/>
                <a:gd name="T2" fmla="*/ 2349500 w 1524"/>
                <a:gd name="T3" fmla="*/ 1574800 h 1568"/>
                <a:gd name="T4" fmla="*/ 2266950 w 1524"/>
                <a:gd name="T5" fmla="*/ 1393825 h 1568"/>
                <a:gd name="T6" fmla="*/ 2171700 w 1524"/>
                <a:gd name="T7" fmla="*/ 1219200 h 1568"/>
                <a:gd name="T8" fmla="*/ 2060575 w 1524"/>
                <a:gd name="T9" fmla="*/ 1057275 h 1568"/>
                <a:gd name="T10" fmla="*/ 1939925 w 1524"/>
                <a:gd name="T11" fmla="*/ 901700 h 1568"/>
                <a:gd name="T12" fmla="*/ 1806575 w 1524"/>
                <a:gd name="T13" fmla="*/ 755650 h 1568"/>
                <a:gd name="T14" fmla="*/ 1663700 w 1524"/>
                <a:gd name="T15" fmla="*/ 622300 h 1568"/>
                <a:gd name="T16" fmla="*/ 1511300 w 1524"/>
                <a:gd name="T17" fmla="*/ 498475 h 1568"/>
                <a:gd name="T18" fmla="*/ 1349375 w 1524"/>
                <a:gd name="T19" fmla="*/ 387350 h 1568"/>
                <a:gd name="T20" fmla="*/ 1177925 w 1524"/>
                <a:gd name="T21" fmla="*/ 288925 h 1568"/>
                <a:gd name="T22" fmla="*/ 996950 w 1524"/>
                <a:gd name="T23" fmla="*/ 203200 h 1568"/>
                <a:gd name="T24" fmla="*/ 809625 w 1524"/>
                <a:gd name="T25" fmla="*/ 133350 h 1568"/>
                <a:gd name="T26" fmla="*/ 615950 w 1524"/>
                <a:gd name="T27" fmla="*/ 76200 h 1568"/>
                <a:gd name="T28" fmla="*/ 415925 w 1524"/>
                <a:gd name="T29" fmla="*/ 34925 h 1568"/>
                <a:gd name="T30" fmla="*/ 209550 w 1524"/>
                <a:gd name="T31" fmla="*/ 9525 h 1568"/>
                <a:gd name="T32" fmla="*/ 0 w 1524"/>
                <a:gd name="T33" fmla="*/ 0 h 1568"/>
                <a:gd name="T34" fmla="*/ 596900 w 1524"/>
                <a:gd name="T35" fmla="*/ 508000 h 1568"/>
                <a:gd name="T36" fmla="*/ 0 w 1524"/>
                <a:gd name="T37" fmla="*/ 1016000 h 1568"/>
                <a:gd name="T38" fmla="*/ 0 w 1524"/>
                <a:gd name="T39" fmla="*/ 1016000 h 1568"/>
                <a:gd name="T40" fmla="*/ 127000 w 1524"/>
                <a:gd name="T41" fmla="*/ 1022350 h 1568"/>
                <a:gd name="T42" fmla="*/ 250825 w 1524"/>
                <a:gd name="T43" fmla="*/ 1038225 h 1568"/>
                <a:gd name="T44" fmla="*/ 371475 w 1524"/>
                <a:gd name="T45" fmla="*/ 1060450 h 1568"/>
                <a:gd name="T46" fmla="*/ 485775 w 1524"/>
                <a:gd name="T47" fmla="*/ 1095375 h 1568"/>
                <a:gd name="T48" fmla="*/ 600075 w 1524"/>
                <a:gd name="T49" fmla="*/ 1139825 h 1568"/>
                <a:gd name="T50" fmla="*/ 708025 w 1524"/>
                <a:gd name="T51" fmla="*/ 1190625 h 1568"/>
                <a:gd name="T52" fmla="*/ 809625 w 1524"/>
                <a:gd name="T53" fmla="*/ 1250950 h 1568"/>
                <a:gd name="T54" fmla="*/ 908050 w 1524"/>
                <a:gd name="T55" fmla="*/ 1317625 h 1568"/>
                <a:gd name="T56" fmla="*/ 1000125 w 1524"/>
                <a:gd name="T57" fmla="*/ 1390650 h 1568"/>
                <a:gd name="T58" fmla="*/ 1085850 w 1524"/>
                <a:gd name="T59" fmla="*/ 1470025 h 1568"/>
                <a:gd name="T60" fmla="*/ 1165225 w 1524"/>
                <a:gd name="T61" fmla="*/ 1558925 h 1568"/>
                <a:gd name="T62" fmla="*/ 1238250 w 1524"/>
                <a:gd name="T63" fmla="*/ 1651000 h 1568"/>
                <a:gd name="T64" fmla="*/ 1304925 w 1524"/>
                <a:gd name="T65" fmla="*/ 1749425 h 1568"/>
                <a:gd name="T66" fmla="*/ 1362075 w 1524"/>
                <a:gd name="T67" fmla="*/ 1854200 h 1568"/>
                <a:gd name="T68" fmla="*/ 1409700 w 1524"/>
                <a:gd name="T69" fmla="*/ 1965325 h 1568"/>
                <a:gd name="T70" fmla="*/ 1450975 w 1524"/>
                <a:gd name="T71" fmla="*/ 2076450 h 1568"/>
                <a:gd name="T72" fmla="*/ 2120900 w 1524"/>
                <a:gd name="T73" fmla="*/ 2489200 h 1568"/>
                <a:gd name="T74" fmla="*/ 2419350 w 1524"/>
                <a:gd name="T75" fmla="*/ 1762125 h 15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524" h="1568">
                  <a:moveTo>
                    <a:pt x="1524" y="1110"/>
                  </a:moveTo>
                  <a:lnTo>
                    <a:pt x="1524" y="1110"/>
                  </a:lnTo>
                  <a:lnTo>
                    <a:pt x="1504" y="1050"/>
                  </a:lnTo>
                  <a:lnTo>
                    <a:pt x="1480" y="992"/>
                  </a:lnTo>
                  <a:lnTo>
                    <a:pt x="1456" y="934"/>
                  </a:lnTo>
                  <a:lnTo>
                    <a:pt x="1428" y="878"/>
                  </a:lnTo>
                  <a:lnTo>
                    <a:pt x="1398" y="822"/>
                  </a:lnTo>
                  <a:lnTo>
                    <a:pt x="1368" y="768"/>
                  </a:lnTo>
                  <a:lnTo>
                    <a:pt x="1334" y="716"/>
                  </a:lnTo>
                  <a:lnTo>
                    <a:pt x="1298" y="666"/>
                  </a:lnTo>
                  <a:lnTo>
                    <a:pt x="1262" y="616"/>
                  </a:lnTo>
                  <a:lnTo>
                    <a:pt x="1222" y="568"/>
                  </a:lnTo>
                  <a:lnTo>
                    <a:pt x="1182" y="522"/>
                  </a:lnTo>
                  <a:lnTo>
                    <a:pt x="1138" y="476"/>
                  </a:lnTo>
                  <a:lnTo>
                    <a:pt x="1094" y="432"/>
                  </a:lnTo>
                  <a:lnTo>
                    <a:pt x="1048" y="392"/>
                  </a:lnTo>
                  <a:lnTo>
                    <a:pt x="1000" y="352"/>
                  </a:lnTo>
                  <a:lnTo>
                    <a:pt x="952" y="314"/>
                  </a:lnTo>
                  <a:lnTo>
                    <a:pt x="902" y="278"/>
                  </a:lnTo>
                  <a:lnTo>
                    <a:pt x="850" y="244"/>
                  </a:lnTo>
                  <a:lnTo>
                    <a:pt x="796" y="212"/>
                  </a:lnTo>
                  <a:lnTo>
                    <a:pt x="742" y="182"/>
                  </a:lnTo>
                  <a:lnTo>
                    <a:pt x="686" y="154"/>
                  </a:lnTo>
                  <a:lnTo>
                    <a:pt x="628" y="128"/>
                  </a:lnTo>
                  <a:lnTo>
                    <a:pt x="570" y="104"/>
                  </a:lnTo>
                  <a:lnTo>
                    <a:pt x="510" y="84"/>
                  </a:lnTo>
                  <a:lnTo>
                    <a:pt x="450" y="64"/>
                  </a:lnTo>
                  <a:lnTo>
                    <a:pt x="388" y="48"/>
                  </a:lnTo>
                  <a:lnTo>
                    <a:pt x="326" y="34"/>
                  </a:lnTo>
                  <a:lnTo>
                    <a:pt x="262" y="22"/>
                  </a:lnTo>
                  <a:lnTo>
                    <a:pt x="198" y="12"/>
                  </a:lnTo>
                  <a:lnTo>
                    <a:pt x="132" y="6"/>
                  </a:lnTo>
                  <a:lnTo>
                    <a:pt x="66" y="2"/>
                  </a:lnTo>
                  <a:lnTo>
                    <a:pt x="0" y="0"/>
                  </a:lnTo>
                  <a:lnTo>
                    <a:pt x="376" y="320"/>
                  </a:lnTo>
                  <a:lnTo>
                    <a:pt x="188" y="480"/>
                  </a:lnTo>
                  <a:lnTo>
                    <a:pt x="0" y="640"/>
                  </a:lnTo>
                  <a:lnTo>
                    <a:pt x="40" y="642"/>
                  </a:lnTo>
                  <a:lnTo>
                    <a:pt x="80" y="644"/>
                  </a:lnTo>
                  <a:lnTo>
                    <a:pt x="118" y="648"/>
                  </a:lnTo>
                  <a:lnTo>
                    <a:pt x="158" y="654"/>
                  </a:lnTo>
                  <a:lnTo>
                    <a:pt x="196" y="660"/>
                  </a:lnTo>
                  <a:lnTo>
                    <a:pt x="234" y="668"/>
                  </a:lnTo>
                  <a:lnTo>
                    <a:pt x="270" y="678"/>
                  </a:lnTo>
                  <a:lnTo>
                    <a:pt x="306" y="690"/>
                  </a:lnTo>
                  <a:lnTo>
                    <a:pt x="342" y="704"/>
                  </a:lnTo>
                  <a:lnTo>
                    <a:pt x="378" y="718"/>
                  </a:lnTo>
                  <a:lnTo>
                    <a:pt x="412" y="732"/>
                  </a:lnTo>
                  <a:lnTo>
                    <a:pt x="446" y="750"/>
                  </a:lnTo>
                  <a:lnTo>
                    <a:pt x="478" y="768"/>
                  </a:lnTo>
                  <a:lnTo>
                    <a:pt x="510" y="788"/>
                  </a:lnTo>
                  <a:lnTo>
                    <a:pt x="542" y="808"/>
                  </a:lnTo>
                  <a:lnTo>
                    <a:pt x="572" y="830"/>
                  </a:lnTo>
                  <a:lnTo>
                    <a:pt x="602" y="852"/>
                  </a:lnTo>
                  <a:lnTo>
                    <a:pt x="630" y="876"/>
                  </a:lnTo>
                  <a:lnTo>
                    <a:pt x="658" y="900"/>
                  </a:lnTo>
                  <a:lnTo>
                    <a:pt x="684" y="926"/>
                  </a:lnTo>
                  <a:lnTo>
                    <a:pt x="710" y="954"/>
                  </a:lnTo>
                  <a:lnTo>
                    <a:pt x="734" y="982"/>
                  </a:lnTo>
                  <a:lnTo>
                    <a:pt x="758" y="1010"/>
                  </a:lnTo>
                  <a:lnTo>
                    <a:pt x="780" y="1040"/>
                  </a:lnTo>
                  <a:lnTo>
                    <a:pt x="802" y="1072"/>
                  </a:lnTo>
                  <a:lnTo>
                    <a:pt x="822" y="1102"/>
                  </a:lnTo>
                  <a:lnTo>
                    <a:pt x="840" y="1136"/>
                  </a:lnTo>
                  <a:lnTo>
                    <a:pt x="858" y="1168"/>
                  </a:lnTo>
                  <a:lnTo>
                    <a:pt x="874" y="1202"/>
                  </a:lnTo>
                  <a:lnTo>
                    <a:pt x="888" y="1238"/>
                  </a:lnTo>
                  <a:lnTo>
                    <a:pt x="902" y="1272"/>
                  </a:lnTo>
                  <a:lnTo>
                    <a:pt x="914" y="1308"/>
                  </a:lnTo>
                  <a:lnTo>
                    <a:pt x="1126" y="1438"/>
                  </a:lnTo>
                  <a:lnTo>
                    <a:pt x="1336" y="1568"/>
                  </a:lnTo>
                  <a:lnTo>
                    <a:pt x="1430" y="1338"/>
                  </a:lnTo>
                  <a:lnTo>
                    <a:pt x="1524" y="1110"/>
                  </a:lnTo>
                  <a:close/>
                </a:path>
              </a:pathLst>
            </a:custGeom>
            <a:grpFill/>
            <a:ln w="6350" cmpd="sng">
              <a:solidFill>
                <a:schemeClr val="tx2">
                  <a:alpha val="60000"/>
                </a:schemeClr>
              </a:solidFill>
              <a:prstDash val="solid"/>
              <a:round/>
              <a:headEnd/>
              <a:tailEnd/>
            </a:ln>
          </p:spPr>
          <p:txBody>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124191"/>
                </a:solidFill>
                <a:effectLst/>
                <a:uLnTx/>
                <a:uFillTx/>
                <a:latin typeface="Nokia Pure Headline Light"/>
                <a:ea typeface="+mn-ea"/>
                <a:cs typeface="+mn-cs"/>
              </a:endParaRPr>
            </a:p>
          </p:txBody>
        </p:sp>
        <p:sp>
          <p:nvSpPr>
            <p:cNvPr id="288" name="Freihandform: Form 182"/>
            <p:cNvSpPr>
              <a:spLocks/>
            </p:cNvSpPr>
            <p:nvPr/>
          </p:nvSpPr>
          <p:spPr bwMode="auto">
            <a:xfrm rot="178732" flipH="1">
              <a:off x="5914588" y="905598"/>
              <a:ext cx="859201" cy="1534176"/>
            </a:xfrm>
            <a:custGeom>
              <a:avLst/>
              <a:gdLst>
                <a:gd name="connsiteX0" fmla="*/ 49596 w 859201"/>
                <a:gd name="connsiteY0" fmla="*/ 1449659 h 1534176"/>
                <a:gd name="connsiteX1" fmla="*/ 49472 w 859201"/>
                <a:gd name="connsiteY1" fmla="*/ 1450282 h 1534176"/>
                <a:gd name="connsiteX2" fmla="*/ 68035 w 859201"/>
                <a:gd name="connsiteY2" fmla="*/ 1468577 h 1534176"/>
                <a:gd name="connsiteX3" fmla="*/ 93799 w 859201"/>
                <a:gd name="connsiteY3" fmla="*/ 1490796 h 1534176"/>
                <a:gd name="connsiteX4" fmla="*/ 121710 w 859201"/>
                <a:gd name="connsiteY4" fmla="*/ 1513015 h 1534176"/>
                <a:gd name="connsiteX5" fmla="*/ 149620 w 859201"/>
                <a:gd name="connsiteY5" fmla="*/ 1534176 h 1534176"/>
                <a:gd name="connsiteX6" fmla="*/ 148920 w 859201"/>
                <a:gd name="connsiteY6" fmla="*/ 1531333 h 1534176"/>
                <a:gd name="connsiteX7" fmla="*/ 143608 w 859201"/>
                <a:gd name="connsiteY7" fmla="*/ 1527507 h 1534176"/>
                <a:gd name="connsiteX8" fmla="*/ 143608 w 859201"/>
                <a:gd name="connsiteY8" fmla="*/ 1527505 h 1534176"/>
                <a:gd name="connsiteX9" fmla="*/ 115698 w 859201"/>
                <a:gd name="connsiteY9" fmla="*/ 1506344 h 1534176"/>
                <a:gd name="connsiteX10" fmla="*/ 87787 w 859201"/>
                <a:gd name="connsiteY10" fmla="*/ 1484125 h 1534176"/>
                <a:gd name="connsiteX11" fmla="*/ 62023 w 859201"/>
                <a:gd name="connsiteY11" fmla="*/ 1461906 h 1534176"/>
                <a:gd name="connsiteX12" fmla="*/ 88735 w 859201"/>
                <a:gd name="connsiteY12" fmla="*/ 1258553 h 1534176"/>
                <a:gd name="connsiteX13" fmla="*/ 67649 w 859201"/>
                <a:gd name="connsiteY13" fmla="*/ 1359073 h 1534176"/>
                <a:gd name="connsiteX14" fmla="*/ 51055 w 859201"/>
                <a:gd name="connsiteY14" fmla="*/ 1442335 h 1534176"/>
                <a:gd name="connsiteX15" fmla="*/ 67650 w 859201"/>
                <a:gd name="connsiteY15" fmla="*/ 1359073 h 1534176"/>
                <a:gd name="connsiteX16" fmla="*/ 85431 w 859201"/>
                <a:gd name="connsiteY16" fmla="*/ 1274305 h 1534176"/>
                <a:gd name="connsiteX17" fmla="*/ 85432 w 859201"/>
                <a:gd name="connsiteY17" fmla="*/ 1274304 h 1534176"/>
                <a:gd name="connsiteX18" fmla="*/ 140478 w 859201"/>
                <a:gd name="connsiteY18" fmla="*/ 876266 h 1534176"/>
                <a:gd name="connsiteX19" fmla="*/ 139444 w 859201"/>
                <a:gd name="connsiteY19" fmla="*/ 884675 h 1534176"/>
                <a:gd name="connsiteX20" fmla="*/ 139674 w 859201"/>
                <a:gd name="connsiteY20" fmla="*/ 887519 h 1534176"/>
                <a:gd name="connsiteX21" fmla="*/ 141964 w 859201"/>
                <a:gd name="connsiteY21" fmla="*/ 903178 h 1534176"/>
                <a:gd name="connsiteX22" fmla="*/ 141033 w 859201"/>
                <a:gd name="connsiteY22" fmla="*/ 886648 h 1534176"/>
                <a:gd name="connsiteX23" fmla="*/ 657384 w 859201"/>
                <a:gd name="connsiteY23" fmla="*/ 0 h 1534176"/>
                <a:gd name="connsiteX24" fmla="*/ 624106 w 859201"/>
                <a:gd name="connsiteY24" fmla="*/ 1058 h 1534176"/>
                <a:gd name="connsiteX25" fmla="*/ 589754 w 859201"/>
                <a:gd name="connsiteY25" fmla="*/ 3174 h 1534176"/>
                <a:gd name="connsiteX26" fmla="*/ 556475 w 859201"/>
                <a:gd name="connsiteY26" fmla="*/ 6348 h 1534176"/>
                <a:gd name="connsiteX27" fmla="*/ 523197 w 859201"/>
                <a:gd name="connsiteY27" fmla="*/ 10581 h 1534176"/>
                <a:gd name="connsiteX28" fmla="*/ 489918 w 859201"/>
                <a:gd name="connsiteY28" fmla="*/ 15871 h 1534176"/>
                <a:gd name="connsiteX29" fmla="*/ 457714 w 859201"/>
                <a:gd name="connsiteY29" fmla="*/ 23277 h 1534176"/>
                <a:gd name="connsiteX30" fmla="*/ 425509 w 859201"/>
                <a:gd name="connsiteY30" fmla="*/ 31742 h 1534176"/>
                <a:gd name="connsiteX31" fmla="*/ 393304 w 859201"/>
                <a:gd name="connsiteY31" fmla="*/ 40206 h 1534176"/>
                <a:gd name="connsiteX32" fmla="*/ 361099 w 859201"/>
                <a:gd name="connsiteY32" fmla="*/ 50787 h 1534176"/>
                <a:gd name="connsiteX33" fmla="*/ 331041 w 859201"/>
                <a:gd name="connsiteY33" fmla="*/ 63483 h 1534176"/>
                <a:gd name="connsiteX34" fmla="*/ 299910 w 859201"/>
                <a:gd name="connsiteY34" fmla="*/ 76180 h 1534176"/>
                <a:gd name="connsiteX35" fmla="*/ 269852 w 859201"/>
                <a:gd name="connsiteY35" fmla="*/ 89935 h 1534176"/>
                <a:gd name="connsiteX36" fmla="*/ 240868 w 859201"/>
                <a:gd name="connsiteY36" fmla="*/ 105805 h 1534176"/>
                <a:gd name="connsiteX37" fmla="*/ 211883 w 859201"/>
                <a:gd name="connsiteY37" fmla="*/ 121676 h 1534176"/>
                <a:gd name="connsiteX38" fmla="*/ 183972 w 859201"/>
                <a:gd name="connsiteY38" fmla="*/ 139663 h 1534176"/>
                <a:gd name="connsiteX39" fmla="*/ 156061 w 859201"/>
                <a:gd name="connsiteY39" fmla="*/ 157650 h 1534176"/>
                <a:gd name="connsiteX40" fmla="*/ 129224 w 859201"/>
                <a:gd name="connsiteY40" fmla="*/ 177753 h 1534176"/>
                <a:gd name="connsiteX41" fmla="*/ 103460 w 859201"/>
                <a:gd name="connsiteY41" fmla="*/ 197856 h 1534176"/>
                <a:gd name="connsiteX42" fmla="*/ 78770 w 859201"/>
                <a:gd name="connsiteY42" fmla="*/ 220075 h 1534176"/>
                <a:gd name="connsiteX43" fmla="*/ 54079 w 859201"/>
                <a:gd name="connsiteY43" fmla="*/ 242294 h 1534176"/>
                <a:gd name="connsiteX44" fmla="*/ 30463 w 859201"/>
                <a:gd name="connsiteY44" fmla="*/ 265571 h 1534176"/>
                <a:gd name="connsiteX45" fmla="*/ 7919 w 859201"/>
                <a:gd name="connsiteY45" fmla="*/ 289907 h 1534176"/>
                <a:gd name="connsiteX46" fmla="*/ 0 w 859201"/>
                <a:gd name="connsiteY46" fmla="*/ 299663 h 1534176"/>
                <a:gd name="connsiteX47" fmla="*/ 5814 w 859201"/>
                <a:gd name="connsiteY47" fmla="*/ 308074 h 1534176"/>
                <a:gd name="connsiteX48" fmla="*/ 18063 w 859201"/>
                <a:gd name="connsiteY48" fmla="*/ 328316 h 1534176"/>
                <a:gd name="connsiteX49" fmla="*/ 30312 w 859201"/>
                <a:gd name="connsiteY49" fmla="*/ 348559 h 1534176"/>
                <a:gd name="connsiteX50" fmla="*/ 42561 w 859201"/>
                <a:gd name="connsiteY50" fmla="*/ 368801 h 1534176"/>
                <a:gd name="connsiteX51" fmla="*/ 52680 w 859201"/>
                <a:gd name="connsiteY51" fmla="*/ 390310 h 1534176"/>
                <a:gd name="connsiteX52" fmla="*/ 64309 w 859201"/>
                <a:gd name="connsiteY52" fmla="*/ 411482 h 1534176"/>
                <a:gd name="connsiteX53" fmla="*/ 73808 w 859201"/>
                <a:gd name="connsiteY53" fmla="*/ 433921 h 1534176"/>
                <a:gd name="connsiteX54" fmla="*/ 82416 w 859201"/>
                <a:gd name="connsiteY54" fmla="*/ 455766 h 1534176"/>
                <a:gd name="connsiteX55" fmla="*/ 91916 w 859201"/>
                <a:gd name="connsiteY55" fmla="*/ 478204 h 1534176"/>
                <a:gd name="connsiteX56" fmla="*/ 99904 w 859201"/>
                <a:gd name="connsiteY56" fmla="*/ 500978 h 1534176"/>
                <a:gd name="connsiteX57" fmla="*/ 107002 w 859201"/>
                <a:gd name="connsiteY57" fmla="*/ 523160 h 1534176"/>
                <a:gd name="connsiteX58" fmla="*/ 114372 w 859201"/>
                <a:gd name="connsiteY58" fmla="*/ 546864 h 1534176"/>
                <a:gd name="connsiteX59" fmla="*/ 120230 w 859201"/>
                <a:gd name="connsiteY59" fmla="*/ 570905 h 1534176"/>
                <a:gd name="connsiteX60" fmla="*/ 125198 w 859201"/>
                <a:gd name="connsiteY60" fmla="*/ 594353 h 1534176"/>
                <a:gd name="connsiteX61" fmla="*/ 131056 w 859201"/>
                <a:gd name="connsiteY61" fmla="*/ 618393 h 1534176"/>
                <a:gd name="connsiteX62" fmla="*/ 134514 w 859201"/>
                <a:gd name="connsiteY62" fmla="*/ 642176 h 1534176"/>
                <a:gd name="connsiteX63" fmla="*/ 138242 w 859201"/>
                <a:gd name="connsiteY63" fmla="*/ 667484 h 1534176"/>
                <a:gd name="connsiteX64" fmla="*/ 141080 w 859201"/>
                <a:gd name="connsiteY64" fmla="*/ 692197 h 1534176"/>
                <a:gd name="connsiteX65" fmla="*/ 143026 w 859201"/>
                <a:gd name="connsiteY65" fmla="*/ 716316 h 1534176"/>
                <a:gd name="connsiteX66" fmla="*/ 144353 w 859201"/>
                <a:gd name="connsiteY66" fmla="*/ 741366 h 1534176"/>
                <a:gd name="connsiteX67" fmla="*/ 145060 w 859201"/>
                <a:gd name="connsiteY67" fmla="*/ 767346 h 1534176"/>
                <a:gd name="connsiteX68" fmla="*/ 144990 w 859201"/>
                <a:gd name="connsiteY68" fmla="*/ 776949 h 1534176"/>
                <a:gd name="connsiteX69" fmla="*/ 146400 w 859201"/>
                <a:gd name="connsiteY69" fmla="*/ 768146 h 1534176"/>
                <a:gd name="connsiteX70" fmla="*/ 149620 w 859201"/>
                <a:gd name="connsiteY70" fmla="*/ 749101 h 1534176"/>
                <a:gd name="connsiteX71" fmla="*/ 153914 w 859201"/>
                <a:gd name="connsiteY71" fmla="*/ 728998 h 1534176"/>
                <a:gd name="connsiteX72" fmla="*/ 159282 w 859201"/>
                <a:gd name="connsiteY72" fmla="*/ 709953 h 1534176"/>
                <a:gd name="connsiteX73" fmla="*/ 165723 w 859201"/>
                <a:gd name="connsiteY73" fmla="*/ 690908 h 1534176"/>
                <a:gd name="connsiteX74" fmla="*/ 164943 w 859201"/>
                <a:gd name="connsiteY74" fmla="*/ 689067 h 1534176"/>
                <a:gd name="connsiteX75" fmla="*/ 172164 w 859201"/>
                <a:gd name="connsiteY75" fmla="*/ 669748 h 1534176"/>
                <a:gd name="connsiteX76" fmla="*/ 179679 w 859201"/>
                <a:gd name="connsiteY76" fmla="*/ 650703 h 1534176"/>
                <a:gd name="connsiteX77" fmla="*/ 188266 w 859201"/>
                <a:gd name="connsiteY77" fmla="*/ 631658 h 1534176"/>
                <a:gd name="connsiteX78" fmla="*/ 197928 w 859201"/>
                <a:gd name="connsiteY78" fmla="*/ 612613 h 1534176"/>
                <a:gd name="connsiteX79" fmla="*/ 207589 w 859201"/>
                <a:gd name="connsiteY79" fmla="*/ 594626 h 1534176"/>
                <a:gd name="connsiteX80" fmla="*/ 218324 w 859201"/>
                <a:gd name="connsiteY80" fmla="*/ 577697 h 1534176"/>
                <a:gd name="connsiteX81" fmla="*/ 229059 w 859201"/>
                <a:gd name="connsiteY81" fmla="*/ 560768 h 1534176"/>
                <a:gd name="connsiteX82" fmla="*/ 240868 w 859201"/>
                <a:gd name="connsiteY82" fmla="*/ 543840 h 1534176"/>
                <a:gd name="connsiteX83" fmla="*/ 253750 w 859201"/>
                <a:gd name="connsiteY83" fmla="*/ 527969 h 1534176"/>
                <a:gd name="connsiteX84" fmla="*/ 266631 w 859201"/>
                <a:gd name="connsiteY84" fmla="*/ 513156 h 1534176"/>
                <a:gd name="connsiteX85" fmla="*/ 280587 w 859201"/>
                <a:gd name="connsiteY85" fmla="*/ 498343 h 1534176"/>
                <a:gd name="connsiteX86" fmla="*/ 294542 w 859201"/>
                <a:gd name="connsiteY86" fmla="*/ 483531 h 1534176"/>
                <a:gd name="connsiteX87" fmla="*/ 309571 w 859201"/>
                <a:gd name="connsiteY87" fmla="*/ 469776 h 1534176"/>
                <a:gd name="connsiteX88" fmla="*/ 324601 w 859201"/>
                <a:gd name="connsiteY88" fmla="*/ 457079 h 1534176"/>
                <a:gd name="connsiteX89" fmla="*/ 339629 w 859201"/>
                <a:gd name="connsiteY89" fmla="*/ 444383 h 1534176"/>
                <a:gd name="connsiteX90" fmla="*/ 355732 w 859201"/>
                <a:gd name="connsiteY90" fmla="*/ 432744 h 1534176"/>
                <a:gd name="connsiteX91" fmla="*/ 372908 w 859201"/>
                <a:gd name="connsiteY91" fmla="*/ 422163 h 1534176"/>
                <a:gd name="connsiteX92" fmla="*/ 390083 w 859201"/>
                <a:gd name="connsiteY92" fmla="*/ 411583 h 1534176"/>
                <a:gd name="connsiteX93" fmla="*/ 407259 w 859201"/>
                <a:gd name="connsiteY93" fmla="*/ 402060 h 1534176"/>
                <a:gd name="connsiteX94" fmla="*/ 424435 w 859201"/>
                <a:gd name="connsiteY94" fmla="*/ 392538 h 1534176"/>
                <a:gd name="connsiteX95" fmla="*/ 442685 w 859201"/>
                <a:gd name="connsiteY95" fmla="*/ 384074 h 1534176"/>
                <a:gd name="connsiteX96" fmla="*/ 460934 w 859201"/>
                <a:gd name="connsiteY96" fmla="*/ 376667 h 1534176"/>
                <a:gd name="connsiteX97" fmla="*/ 479184 w 859201"/>
                <a:gd name="connsiteY97" fmla="*/ 369261 h 1534176"/>
                <a:gd name="connsiteX98" fmla="*/ 498507 w 859201"/>
                <a:gd name="connsiteY98" fmla="*/ 362912 h 1534176"/>
                <a:gd name="connsiteX99" fmla="*/ 517830 w 859201"/>
                <a:gd name="connsiteY99" fmla="*/ 357622 h 1534176"/>
                <a:gd name="connsiteX100" fmla="*/ 537153 w 859201"/>
                <a:gd name="connsiteY100" fmla="*/ 352332 h 1534176"/>
                <a:gd name="connsiteX101" fmla="*/ 556475 w 859201"/>
                <a:gd name="connsiteY101" fmla="*/ 348100 h 1534176"/>
                <a:gd name="connsiteX102" fmla="*/ 576872 w 859201"/>
                <a:gd name="connsiteY102" fmla="*/ 344925 h 1534176"/>
                <a:gd name="connsiteX103" fmla="*/ 597268 w 859201"/>
                <a:gd name="connsiteY103" fmla="*/ 341751 h 1534176"/>
                <a:gd name="connsiteX104" fmla="*/ 616591 w 859201"/>
                <a:gd name="connsiteY104" fmla="*/ 340693 h 1534176"/>
                <a:gd name="connsiteX105" fmla="*/ 636987 w 859201"/>
                <a:gd name="connsiteY105" fmla="*/ 339635 h 1534176"/>
                <a:gd name="connsiteX106" fmla="*/ 657384 w 859201"/>
                <a:gd name="connsiteY106" fmla="*/ 338577 h 1534176"/>
                <a:gd name="connsiteX107" fmla="*/ 758293 w 859201"/>
                <a:gd name="connsiteY107" fmla="*/ 253933 h 1534176"/>
                <a:gd name="connsiteX108" fmla="*/ 859201 w 859201"/>
                <a:gd name="connsiteY108" fmla="*/ 169289 h 1534176"/>
                <a:gd name="connsiteX109" fmla="*/ 758293 w 859201"/>
                <a:gd name="connsiteY109" fmla="*/ 84644 h 1534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859201" h="1534176">
                  <a:moveTo>
                    <a:pt x="49596" y="1449659"/>
                  </a:moveTo>
                  <a:lnTo>
                    <a:pt x="49472" y="1450282"/>
                  </a:lnTo>
                  <a:lnTo>
                    <a:pt x="68035" y="1468577"/>
                  </a:lnTo>
                  <a:lnTo>
                    <a:pt x="93799" y="1490796"/>
                  </a:lnTo>
                  <a:lnTo>
                    <a:pt x="121710" y="1513015"/>
                  </a:lnTo>
                  <a:lnTo>
                    <a:pt x="149620" y="1534176"/>
                  </a:lnTo>
                  <a:lnTo>
                    <a:pt x="148920" y="1531333"/>
                  </a:lnTo>
                  <a:lnTo>
                    <a:pt x="143608" y="1527507"/>
                  </a:lnTo>
                  <a:lnTo>
                    <a:pt x="143608" y="1527505"/>
                  </a:lnTo>
                  <a:lnTo>
                    <a:pt x="115698" y="1506344"/>
                  </a:lnTo>
                  <a:lnTo>
                    <a:pt x="87787" y="1484125"/>
                  </a:lnTo>
                  <a:lnTo>
                    <a:pt x="62023" y="1461906"/>
                  </a:lnTo>
                  <a:close/>
                  <a:moveTo>
                    <a:pt x="88735" y="1258553"/>
                  </a:moveTo>
                  <a:lnTo>
                    <a:pt x="67649" y="1359073"/>
                  </a:lnTo>
                  <a:lnTo>
                    <a:pt x="51055" y="1442335"/>
                  </a:lnTo>
                  <a:lnTo>
                    <a:pt x="67650" y="1359073"/>
                  </a:lnTo>
                  <a:lnTo>
                    <a:pt x="85431" y="1274305"/>
                  </a:lnTo>
                  <a:lnTo>
                    <a:pt x="85432" y="1274304"/>
                  </a:lnTo>
                  <a:close/>
                  <a:moveTo>
                    <a:pt x="140478" y="876266"/>
                  </a:moveTo>
                  <a:lnTo>
                    <a:pt x="139444" y="884675"/>
                  </a:lnTo>
                  <a:lnTo>
                    <a:pt x="139674" y="887519"/>
                  </a:lnTo>
                  <a:lnTo>
                    <a:pt x="141964" y="903178"/>
                  </a:lnTo>
                  <a:lnTo>
                    <a:pt x="141033" y="886648"/>
                  </a:lnTo>
                  <a:close/>
                  <a:moveTo>
                    <a:pt x="657384" y="0"/>
                  </a:moveTo>
                  <a:lnTo>
                    <a:pt x="624106" y="1058"/>
                  </a:lnTo>
                  <a:lnTo>
                    <a:pt x="589754" y="3174"/>
                  </a:lnTo>
                  <a:lnTo>
                    <a:pt x="556475" y="6348"/>
                  </a:lnTo>
                  <a:lnTo>
                    <a:pt x="523197" y="10581"/>
                  </a:lnTo>
                  <a:lnTo>
                    <a:pt x="489918" y="15871"/>
                  </a:lnTo>
                  <a:lnTo>
                    <a:pt x="457714" y="23277"/>
                  </a:lnTo>
                  <a:lnTo>
                    <a:pt x="425509" y="31742"/>
                  </a:lnTo>
                  <a:lnTo>
                    <a:pt x="393304" y="40206"/>
                  </a:lnTo>
                  <a:lnTo>
                    <a:pt x="361099" y="50787"/>
                  </a:lnTo>
                  <a:lnTo>
                    <a:pt x="331041" y="63483"/>
                  </a:lnTo>
                  <a:lnTo>
                    <a:pt x="299910" y="76180"/>
                  </a:lnTo>
                  <a:lnTo>
                    <a:pt x="269852" y="89935"/>
                  </a:lnTo>
                  <a:lnTo>
                    <a:pt x="240868" y="105805"/>
                  </a:lnTo>
                  <a:lnTo>
                    <a:pt x="211883" y="121676"/>
                  </a:lnTo>
                  <a:lnTo>
                    <a:pt x="183972" y="139663"/>
                  </a:lnTo>
                  <a:lnTo>
                    <a:pt x="156061" y="157650"/>
                  </a:lnTo>
                  <a:lnTo>
                    <a:pt x="129224" y="177753"/>
                  </a:lnTo>
                  <a:lnTo>
                    <a:pt x="103460" y="197856"/>
                  </a:lnTo>
                  <a:lnTo>
                    <a:pt x="78770" y="220075"/>
                  </a:lnTo>
                  <a:lnTo>
                    <a:pt x="54079" y="242294"/>
                  </a:lnTo>
                  <a:lnTo>
                    <a:pt x="30463" y="265571"/>
                  </a:lnTo>
                  <a:lnTo>
                    <a:pt x="7919" y="289907"/>
                  </a:lnTo>
                  <a:lnTo>
                    <a:pt x="0" y="299663"/>
                  </a:lnTo>
                  <a:lnTo>
                    <a:pt x="5814" y="308074"/>
                  </a:lnTo>
                  <a:lnTo>
                    <a:pt x="18063" y="328316"/>
                  </a:lnTo>
                  <a:lnTo>
                    <a:pt x="30312" y="348559"/>
                  </a:lnTo>
                  <a:lnTo>
                    <a:pt x="42561" y="368801"/>
                  </a:lnTo>
                  <a:lnTo>
                    <a:pt x="52680" y="390310"/>
                  </a:lnTo>
                  <a:lnTo>
                    <a:pt x="64309" y="411482"/>
                  </a:lnTo>
                  <a:lnTo>
                    <a:pt x="73808" y="433921"/>
                  </a:lnTo>
                  <a:lnTo>
                    <a:pt x="82416" y="455766"/>
                  </a:lnTo>
                  <a:lnTo>
                    <a:pt x="91916" y="478204"/>
                  </a:lnTo>
                  <a:lnTo>
                    <a:pt x="99904" y="500978"/>
                  </a:lnTo>
                  <a:lnTo>
                    <a:pt x="107002" y="523160"/>
                  </a:lnTo>
                  <a:lnTo>
                    <a:pt x="114372" y="546864"/>
                  </a:lnTo>
                  <a:lnTo>
                    <a:pt x="120230" y="570905"/>
                  </a:lnTo>
                  <a:lnTo>
                    <a:pt x="125198" y="594353"/>
                  </a:lnTo>
                  <a:lnTo>
                    <a:pt x="131056" y="618393"/>
                  </a:lnTo>
                  <a:lnTo>
                    <a:pt x="134514" y="642176"/>
                  </a:lnTo>
                  <a:lnTo>
                    <a:pt x="138242" y="667484"/>
                  </a:lnTo>
                  <a:lnTo>
                    <a:pt x="141080" y="692197"/>
                  </a:lnTo>
                  <a:lnTo>
                    <a:pt x="143026" y="716316"/>
                  </a:lnTo>
                  <a:lnTo>
                    <a:pt x="144353" y="741366"/>
                  </a:lnTo>
                  <a:lnTo>
                    <a:pt x="145060" y="767346"/>
                  </a:lnTo>
                  <a:lnTo>
                    <a:pt x="144990" y="776949"/>
                  </a:lnTo>
                  <a:lnTo>
                    <a:pt x="146400" y="768146"/>
                  </a:lnTo>
                  <a:lnTo>
                    <a:pt x="149620" y="749101"/>
                  </a:lnTo>
                  <a:lnTo>
                    <a:pt x="153914" y="728998"/>
                  </a:lnTo>
                  <a:lnTo>
                    <a:pt x="159282" y="709953"/>
                  </a:lnTo>
                  <a:lnTo>
                    <a:pt x="165723" y="690908"/>
                  </a:lnTo>
                  <a:lnTo>
                    <a:pt x="164943" y="689067"/>
                  </a:lnTo>
                  <a:lnTo>
                    <a:pt x="172164" y="669748"/>
                  </a:lnTo>
                  <a:lnTo>
                    <a:pt x="179679" y="650703"/>
                  </a:lnTo>
                  <a:lnTo>
                    <a:pt x="188266" y="631658"/>
                  </a:lnTo>
                  <a:lnTo>
                    <a:pt x="197928" y="612613"/>
                  </a:lnTo>
                  <a:lnTo>
                    <a:pt x="207589" y="594626"/>
                  </a:lnTo>
                  <a:lnTo>
                    <a:pt x="218324" y="577697"/>
                  </a:lnTo>
                  <a:lnTo>
                    <a:pt x="229059" y="560768"/>
                  </a:lnTo>
                  <a:lnTo>
                    <a:pt x="240868" y="543840"/>
                  </a:lnTo>
                  <a:lnTo>
                    <a:pt x="253750" y="527969"/>
                  </a:lnTo>
                  <a:lnTo>
                    <a:pt x="266631" y="513156"/>
                  </a:lnTo>
                  <a:lnTo>
                    <a:pt x="280587" y="498343"/>
                  </a:lnTo>
                  <a:lnTo>
                    <a:pt x="294542" y="483531"/>
                  </a:lnTo>
                  <a:lnTo>
                    <a:pt x="309571" y="469776"/>
                  </a:lnTo>
                  <a:lnTo>
                    <a:pt x="324601" y="457079"/>
                  </a:lnTo>
                  <a:lnTo>
                    <a:pt x="339629" y="444383"/>
                  </a:lnTo>
                  <a:lnTo>
                    <a:pt x="355732" y="432744"/>
                  </a:lnTo>
                  <a:lnTo>
                    <a:pt x="372908" y="422163"/>
                  </a:lnTo>
                  <a:lnTo>
                    <a:pt x="390083" y="411583"/>
                  </a:lnTo>
                  <a:lnTo>
                    <a:pt x="407259" y="402060"/>
                  </a:lnTo>
                  <a:lnTo>
                    <a:pt x="424435" y="392538"/>
                  </a:lnTo>
                  <a:lnTo>
                    <a:pt x="442685" y="384074"/>
                  </a:lnTo>
                  <a:lnTo>
                    <a:pt x="460934" y="376667"/>
                  </a:lnTo>
                  <a:lnTo>
                    <a:pt x="479184" y="369261"/>
                  </a:lnTo>
                  <a:lnTo>
                    <a:pt x="498507" y="362912"/>
                  </a:lnTo>
                  <a:lnTo>
                    <a:pt x="517830" y="357622"/>
                  </a:lnTo>
                  <a:lnTo>
                    <a:pt x="537153" y="352332"/>
                  </a:lnTo>
                  <a:lnTo>
                    <a:pt x="556475" y="348100"/>
                  </a:lnTo>
                  <a:lnTo>
                    <a:pt x="576872" y="344925"/>
                  </a:lnTo>
                  <a:lnTo>
                    <a:pt x="597268" y="341751"/>
                  </a:lnTo>
                  <a:lnTo>
                    <a:pt x="616591" y="340693"/>
                  </a:lnTo>
                  <a:lnTo>
                    <a:pt x="636987" y="339635"/>
                  </a:lnTo>
                  <a:lnTo>
                    <a:pt x="657384" y="338577"/>
                  </a:lnTo>
                  <a:lnTo>
                    <a:pt x="758293" y="253933"/>
                  </a:lnTo>
                  <a:lnTo>
                    <a:pt x="859201" y="169289"/>
                  </a:lnTo>
                  <a:lnTo>
                    <a:pt x="758293" y="84644"/>
                  </a:lnTo>
                  <a:close/>
                </a:path>
              </a:pathLst>
            </a:custGeom>
            <a:grpFill/>
            <a:ln w="6350" cmpd="sng">
              <a:solidFill>
                <a:schemeClr val="tx2">
                  <a:alpha val="60000"/>
                </a:schemeClr>
              </a:solidFill>
              <a:prstDash val="solid"/>
              <a:round/>
              <a:headEnd/>
              <a:tailEnd/>
            </a:ln>
          </p:spPr>
          <p:txBody>
            <a:bodyPr wrap="square">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124191"/>
                </a:solidFill>
                <a:effectLst/>
                <a:uLnTx/>
                <a:uFillTx/>
                <a:latin typeface="Nokia Pure Headline Light"/>
                <a:ea typeface="+mn-ea"/>
                <a:cs typeface="+mn-cs"/>
              </a:endParaRPr>
            </a:p>
          </p:txBody>
        </p:sp>
        <p:sp>
          <p:nvSpPr>
            <p:cNvPr id="289" name="Freeform 7"/>
            <p:cNvSpPr>
              <a:spLocks/>
            </p:cNvSpPr>
            <p:nvPr/>
          </p:nvSpPr>
          <p:spPr bwMode="auto">
            <a:xfrm rot="178732" flipH="1">
              <a:off x="5248595" y="1446728"/>
              <a:ext cx="620480" cy="948015"/>
            </a:xfrm>
            <a:custGeom>
              <a:avLst/>
              <a:gdLst>
                <a:gd name="T0" fmla="*/ 781050 w 1156"/>
                <a:gd name="T1" fmla="*/ 2844800 h 1792"/>
                <a:gd name="T2" fmla="*/ 939800 w 1156"/>
                <a:gd name="T3" fmla="*/ 2720975 h 1792"/>
                <a:gd name="T4" fmla="*/ 1085850 w 1156"/>
                <a:gd name="T5" fmla="*/ 2587625 h 1792"/>
                <a:gd name="T6" fmla="*/ 1222375 w 1156"/>
                <a:gd name="T7" fmla="*/ 2441575 h 1792"/>
                <a:gd name="T8" fmla="*/ 1343025 w 1156"/>
                <a:gd name="T9" fmla="*/ 2286000 h 1792"/>
                <a:gd name="T10" fmla="*/ 1454150 w 1156"/>
                <a:gd name="T11" fmla="*/ 2124075 h 1792"/>
                <a:gd name="T12" fmla="*/ 1549400 w 1156"/>
                <a:gd name="T13" fmla="*/ 1952625 h 1792"/>
                <a:gd name="T14" fmla="*/ 1635125 w 1156"/>
                <a:gd name="T15" fmla="*/ 1774825 h 1792"/>
                <a:gd name="T16" fmla="*/ 1704975 w 1156"/>
                <a:gd name="T17" fmla="*/ 1590675 h 1792"/>
                <a:gd name="T18" fmla="*/ 1758950 w 1156"/>
                <a:gd name="T19" fmla="*/ 1403350 h 1792"/>
                <a:gd name="T20" fmla="*/ 1800225 w 1156"/>
                <a:gd name="T21" fmla="*/ 1209675 h 1792"/>
                <a:gd name="T22" fmla="*/ 1825625 w 1156"/>
                <a:gd name="T23" fmla="*/ 1009650 h 1792"/>
                <a:gd name="T24" fmla="*/ 1835150 w 1156"/>
                <a:gd name="T25" fmla="*/ 809625 h 1792"/>
                <a:gd name="T26" fmla="*/ 1828800 w 1156"/>
                <a:gd name="T27" fmla="*/ 609600 h 1792"/>
                <a:gd name="T28" fmla="*/ 1806575 w 1156"/>
                <a:gd name="T29" fmla="*/ 406400 h 1792"/>
                <a:gd name="T30" fmla="*/ 1768475 w 1156"/>
                <a:gd name="T31" fmla="*/ 203200 h 1792"/>
                <a:gd name="T32" fmla="*/ 1711325 w 1156"/>
                <a:gd name="T33" fmla="*/ 0 h 1792"/>
                <a:gd name="T34" fmla="*/ 1412875 w 1156"/>
                <a:gd name="T35" fmla="*/ 723900 h 1792"/>
                <a:gd name="T36" fmla="*/ 746125 w 1156"/>
                <a:gd name="T37" fmla="*/ 314325 h 1792"/>
                <a:gd name="T38" fmla="*/ 742950 w 1156"/>
                <a:gd name="T39" fmla="*/ 314325 h 1792"/>
                <a:gd name="T40" fmla="*/ 777875 w 1156"/>
                <a:gd name="T41" fmla="*/ 434975 h 1792"/>
                <a:gd name="T42" fmla="*/ 803275 w 1156"/>
                <a:gd name="T43" fmla="*/ 558800 h 1792"/>
                <a:gd name="T44" fmla="*/ 815975 w 1156"/>
                <a:gd name="T45" fmla="*/ 679450 h 1792"/>
                <a:gd name="T46" fmla="*/ 819150 w 1156"/>
                <a:gd name="T47" fmla="*/ 800100 h 1792"/>
                <a:gd name="T48" fmla="*/ 812800 w 1156"/>
                <a:gd name="T49" fmla="*/ 920750 h 1792"/>
                <a:gd name="T50" fmla="*/ 796925 w 1156"/>
                <a:gd name="T51" fmla="*/ 1041400 h 1792"/>
                <a:gd name="T52" fmla="*/ 774700 w 1156"/>
                <a:gd name="T53" fmla="*/ 1155700 h 1792"/>
                <a:gd name="T54" fmla="*/ 739775 w 1156"/>
                <a:gd name="T55" fmla="*/ 1270000 h 1792"/>
                <a:gd name="T56" fmla="*/ 698500 w 1156"/>
                <a:gd name="T57" fmla="*/ 1381125 h 1792"/>
                <a:gd name="T58" fmla="*/ 647700 w 1156"/>
                <a:gd name="T59" fmla="*/ 1489075 h 1792"/>
                <a:gd name="T60" fmla="*/ 590550 w 1156"/>
                <a:gd name="T61" fmla="*/ 1590675 h 1792"/>
                <a:gd name="T62" fmla="*/ 523875 w 1156"/>
                <a:gd name="T63" fmla="*/ 1689100 h 1792"/>
                <a:gd name="T64" fmla="*/ 447675 w 1156"/>
                <a:gd name="T65" fmla="*/ 1781175 h 1792"/>
                <a:gd name="T66" fmla="*/ 368300 w 1156"/>
                <a:gd name="T67" fmla="*/ 1866900 h 1792"/>
                <a:gd name="T68" fmla="*/ 279400 w 1156"/>
                <a:gd name="T69" fmla="*/ 1949450 h 1792"/>
                <a:gd name="T70" fmla="*/ 184150 w 1156"/>
                <a:gd name="T71" fmla="*/ 2022475 h 1792"/>
                <a:gd name="T72" fmla="*/ 0 w 1156"/>
                <a:gd name="T73" fmla="*/ 2787650 h 1792"/>
                <a:gd name="T74" fmla="*/ 781050 w 1156"/>
                <a:gd name="T75" fmla="*/ 2844800 h 179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56" h="1792">
                  <a:moveTo>
                    <a:pt x="492" y="1792"/>
                  </a:moveTo>
                  <a:lnTo>
                    <a:pt x="492" y="1792"/>
                  </a:lnTo>
                  <a:lnTo>
                    <a:pt x="544" y="1754"/>
                  </a:lnTo>
                  <a:lnTo>
                    <a:pt x="592" y="1714"/>
                  </a:lnTo>
                  <a:lnTo>
                    <a:pt x="640" y="1672"/>
                  </a:lnTo>
                  <a:lnTo>
                    <a:pt x="684" y="1630"/>
                  </a:lnTo>
                  <a:lnTo>
                    <a:pt x="728" y="1584"/>
                  </a:lnTo>
                  <a:lnTo>
                    <a:pt x="770" y="1538"/>
                  </a:lnTo>
                  <a:lnTo>
                    <a:pt x="808" y="1490"/>
                  </a:lnTo>
                  <a:lnTo>
                    <a:pt x="846" y="1440"/>
                  </a:lnTo>
                  <a:lnTo>
                    <a:pt x="882" y="1390"/>
                  </a:lnTo>
                  <a:lnTo>
                    <a:pt x="916" y="1338"/>
                  </a:lnTo>
                  <a:lnTo>
                    <a:pt x="948" y="1284"/>
                  </a:lnTo>
                  <a:lnTo>
                    <a:pt x="976" y="1230"/>
                  </a:lnTo>
                  <a:lnTo>
                    <a:pt x="1004" y="1174"/>
                  </a:lnTo>
                  <a:lnTo>
                    <a:pt x="1030" y="1118"/>
                  </a:lnTo>
                  <a:lnTo>
                    <a:pt x="1052" y="1060"/>
                  </a:lnTo>
                  <a:lnTo>
                    <a:pt x="1074" y="1002"/>
                  </a:lnTo>
                  <a:lnTo>
                    <a:pt x="1092" y="944"/>
                  </a:lnTo>
                  <a:lnTo>
                    <a:pt x="1108" y="884"/>
                  </a:lnTo>
                  <a:lnTo>
                    <a:pt x="1122" y="822"/>
                  </a:lnTo>
                  <a:lnTo>
                    <a:pt x="1134" y="762"/>
                  </a:lnTo>
                  <a:lnTo>
                    <a:pt x="1144" y="700"/>
                  </a:lnTo>
                  <a:lnTo>
                    <a:pt x="1150" y="636"/>
                  </a:lnTo>
                  <a:lnTo>
                    <a:pt x="1154" y="574"/>
                  </a:lnTo>
                  <a:lnTo>
                    <a:pt x="1156" y="510"/>
                  </a:lnTo>
                  <a:lnTo>
                    <a:pt x="1156" y="448"/>
                  </a:lnTo>
                  <a:lnTo>
                    <a:pt x="1152" y="384"/>
                  </a:lnTo>
                  <a:lnTo>
                    <a:pt x="1146" y="320"/>
                  </a:lnTo>
                  <a:lnTo>
                    <a:pt x="1138" y="256"/>
                  </a:lnTo>
                  <a:lnTo>
                    <a:pt x="1126" y="192"/>
                  </a:lnTo>
                  <a:lnTo>
                    <a:pt x="1114" y="128"/>
                  </a:lnTo>
                  <a:lnTo>
                    <a:pt x="1096" y="64"/>
                  </a:lnTo>
                  <a:lnTo>
                    <a:pt x="1078" y="0"/>
                  </a:lnTo>
                  <a:lnTo>
                    <a:pt x="890" y="456"/>
                  </a:lnTo>
                  <a:lnTo>
                    <a:pt x="680" y="328"/>
                  </a:lnTo>
                  <a:lnTo>
                    <a:pt x="470" y="198"/>
                  </a:lnTo>
                  <a:lnTo>
                    <a:pt x="468" y="198"/>
                  </a:lnTo>
                  <a:lnTo>
                    <a:pt x="480" y="236"/>
                  </a:lnTo>
                  <a:lnTo>
                    <a:pt x="490" y="274"/>
                  </a:lnTo>
                  <a:lnTo>
                    <a:pt x="498" y="314"/>
                  </a:lnTo>
                  <a:lnTo>
                    <a:pt x="506" y="352"/>
                  </a:lnTo>
                  <a:lnTo>
                    <a:pt x="510" y="390"/>
                  </a:lnTo>
                  <a:lnTo>
                    <a:pt x="514" y="428"/>
                  </a:lnTo>
                  <a:lnTo>
                    <a:pt x="516" y="466"/>
                  </a:lnTo>
                  <a:lnTo>
                    <a:pt x="516" y="504"/>
                  </a:lnTo>
                  <a:lnTo>
                    <a:pt x="514" y="542"/>
                  </a:lnTo>
                  <a:lnTo>
                    <a:pt x="512" y="580"/>
                  </a:lnTo>
                  <a:lnTo>
                    <a:pt x="508" y="618"/>
                  </a:lnTo>
                  <a:lnTo>
                    <a:pt x="502" y="656"/>
                  </a:lnTo>
                  <a:lnTo>
                    <a:pt x="496" y="692"/>
                  </a:lnTo>
                  <a:lnTo>
                    <a:pt x="488" y="728"/>
                  </a:lnTo>
                  <a:lnTo>
                    <a:pt x="478" y="764"/>
                  </a:lnTo>
                  <a:lnTo>
                    <a:pt x="466" y="800"/>
                  </a:lnTo>
                  <a:lnTo>
                    <a:pt x="454" y="836"/>
                  </a:lnTo>
                  <a:lnTo>
                    <a:pt x="440" y="870"/>
                  </a:lnTo>
                  <a:lnTo>
                    <a:pt x="424" y="904"/>
                  </a:lnTo>
                  <a:lnTo>
                    <a:pt x="408" y="938"/>
                  </a:lnTo>
                  <a:lnTo>
                    <a:pt x="390" y="970"/>
                  </a:lnTo>
                  <a:lnTo>
                    <a:pt x="372" y="1002"/>
                  </a:lnTo>
                  <a:lnTo>
                    <a:pt x="350" y="1032"/>
                  </a:lnTo>
                  <a:lnTo>
                    <a:pt x="330" y="1064"/>
                  </a:lnTo>
                  <a:lnTo>
                    <a:pt x="306" y="1094"/>
                  </a:lnTo>
                  <a:lnTo>
                    <a:pt x="282" y="1122"/>
                  </a:lnTo>
                  <a:lnTo>
                    <a:pt x="258" y="1150"/>
                  </a:lnTo>
                  <a:lnTo>
                    <a:pt x="232" y="1176"/>
                  </a:lnTo>
                  <a:lnTo>
                    <a:pt x="204" y="1202"/>
                  </a:lnTo>
                  <a:lnTo>
                    <a:pt x="176" y="1228"/>
                  </a:lnTo>
                  <a:lnTo>
                    <a:pt x="146" y="1252"/>
                  </a:lnTo>
                  <a:lnTo>
                    <a:pt x="116" y="1274"/>
                  </a:lnTo>
                  <a:lnTo>
                    <a:pt x="58" y="1516"/>
                  </a:lnTo>
                  <a:lnTo>
                    <a:pt x="0" y="1756"/>
                  </a:lnTo>
                  <a:lnTo>
                    <a:pt x="246" y="1774"/>
                  </a:lnTo>
                  <a:lnTo>
                    <a:pt x="492" y="1792"/>
                  </a:lnTo>
                  <a:close/>
                </a:path>
              </a:pathLst>
            </a:custGeom>
            <a:grpFill/>
            <a:ln w="6350" cmpd="sng">
              <a:solidFill>
                <a:schemeClr val="tx2">
                  <a:alpha val="60000"/>
                </a:schemeClr>
              </a:solidFill>
              <a:prstDash val="solid"/>
              <a:round/>
              <a:headEnd/>
              <a:tailEnd/>
            </a:ln>
          </p:spPr>
          <p:txBody>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124191"/>
                </a:solidFill>
                <a:effectLst/>
                <a:uLnTx/>
                <a:uFillTx/>
                <a:latin typeface="Nokia Pure Headline Light"/>
                <a:ea typeface="+mn-ea"/>
                <a:cs typeface="+mn-cs"/>
              </a:endParaRPr>
            </a:p>
          </p:txBody>
        </p:sp>
        <p:sp>
          <p:nvSpPr>
            <p:cNvPr id="290" name="Freeform 136"/>
            <p:cNvSpPr>
              <a:spLocks/>
            </p:cNvSpPr>
            <p:nvPr/>
          </p:nvSpPr>
          <p:spPr bwMode="auto">
            <a:xfrm rot="1000857">
              <a:off x="7569113" y="1024144"/>
              <a:ext cx="861480" cy="1014659"/>
            </a:xfrm>
            <a:custGeom>
              <a:avLst/>
              <a:gdLst>
                <a:gd name="T0" fmla="*/ 2540000 w 1600"/>
                <a:gd name="T1" fmla="*/ 2540000 h 1912"/>
                <a:gd name="T2" fmla="*/ 2527300 w 1600"/>
                <a:gd name="T3" fmla="*/ 2279650 h 1912"/>
                <a:gd name="T4" fmla="*/ 2489200 w 1600"/>
                <a:gd name="T5" fmla="*/ 2028825 h 1912"/>
                <a:gd name="T6" fmla="*/ 2425700 w 1600"/>
                <a:gd name="T7" fmla="*/ 1784350 h 1912"/>
                <a:gd name="T8" fmla="*/ 2339975 w 1600"/>
                <a:gd name="T9" fmla="*/ 1552575 h 1912"/>
                <a:gd name="T10" fmla="*/ 2235200 w 1600"/>
                <a:gd name="T11" fmla="*/ 1330325 h 1912"/>
                <a:gd name="T12" fmla="*/ 2108200 w 1600"/>
                <a:gd name="T13" fmla="*/ 1120775 h 1912"/>
                <a:gd name="T14" fmla="*/ 1962150 w 1600"/>
                <a:gd name="T15" fmla="*/ 923925 h 1912"/>
                <a:gd name="T16" fmla="*/ 1797050 w 1600"/>
                <a:gd name="T17" fmla="*/ 746125 h 1912"/>
                <a:gd name="T18" fmla="*/ 1619250 w 1600"/>
                <a:gd name="T19" fmla="*/ 581025 h 1912"/>
                <a:gd name="T20" fmla="*/ 1422400 w 1600"/>
                <a:gd name="T21" fmla="*/ 434975 h 1912"/>
                <a:gd name="T22" fmla="*/ 1212850 w 1600"/>
                <a:gd name="T23" fmla="*/ 307975 h 1912"/>
                <a:gd name="T24" fmla="*/ 990600 w 1600"/>
                <a:gd name="T25" fmla="*/ 200025 h 1912"/>
                <a:gd name="T26" fmla="*/ 758825 w 1600"/>
                <a:gd name="T27" fmla="*/ 114300 h 1912"/>
                <a:gd name="T28" fmla="*/ 514350 w 1600"/>
                <a:gd name="T29" fmla="*/ 50800 h 1912"/>
                <a:gd name="T30" fmla="*/ 263525 w 1600"/>
                <a:gd name="T31" fmla="*/ 12700 h 1912"/>
                <a:gd name="T32" fmla="*/ 3175 w 1600"/>
                <a:gd name="T33" fmla="*/ 0 h 1912"/>
                <a:gd name="T34" fmla="*/ 495300 w 1600"/>
                <a:gd name="T35" fmla="*/ 504825 h 1912"/>
                <a:gd name="T36" fmla="*/ 3175 w 1600"/>
                <a:gd name="T37" fmla="*/ 1009650 h 1912"/>
                <a:gd name="T38" fmla="*/ 0 w 1600"/>
                <a:gd name="T39" fmla="*/ 1016000 h 1912"/>
                <a:gd name="T40" fmla="*/ 155575 w 1600"/>
                <a:gd name="T41" fmla="*/ 1022350 h 1912"/>
                <a:gd name="T42" fmla="*/ 307975 w 1600"/>
                <a:gd name="T43" fmla="*/ 1047750 h 1912"/>
                <a:gd name="T44" fmla="*/ 454025 w 1600"/>
                <a:gd name="T45" fmla="*/ 1085850 h 1912"/>
                <a:gd name="T46" fmla="*/ 593725 w 1600"/>
                <a:gd name="T47" fmla="*/ 1136650 h 1912"/>
                <a:gd name="T48" fmla="*/ 727075 w 1600"/>
                <a:gd name="T49" fmla="*/ 1200150 h 1912"/>
                <a:gd name="T50" fmla="*/ 850900 w 1600"/>
                <a:gd name="T51" fmla="*/ 1276350 h 1912"/>
                <a:gd name="T52" fmla="*/ 968375 w 1600"/>
                <a:gd name="T53" fmla="*/ 1365250 h 1912"/>
                <a:gd name="T54" fmla="*/ 1076325 w 1600"/>
                <a:gd name="T55" fmla="*/ 1460500 h 1912"/>
                <a:gd name="T56" fmla="*/ 1174750 w 1600"/>
                <a:gd name="T57" fmla="*/ 1571625 h 1912"/>
                <a:gd name="T58" fmla="*/ 1263650 w 1600"/>
                <a:gd name="T59" fmla="*/ 1689100 h 1912"/>
                <a:gd name="T60" fmla="*/ 1339850 w 1600"/>
                <a:gd name="T61" fmla="*/ 1812925 h 1912"/>
                <a:gd name="T62" fmla="*/ 1403350 w 1600"/>
                <a:gd name="T63" fmla="*/ 1946275 h 1912"/>
                <a:gd name="T64" fmla="*/ 1454150 w 1600"/>
                <a:gd name="T65" fmla="*/ 2085975 h 1912"/>
                <a:gd name="T66" fmla="*/ 1492250 w 1600"/>
                <a:gd name="T67" fmla="*/ 2232025 h 1912"/>
                <a:gd name="T68" fmla="*/ 1517650 w 1600"/>
                <a:gd name="T69" fmla="*/ 2384425 h 1912"/>
                <a:gd name="T70" fmla="*/ 1524000 w 1600"/>
                <a:gd name="T71" fmla="*/ 2540000 h 1912"/>
                <a:gd name="T72" fmla="*/ 1778000 w 1600"/>
                <a:gd name="T73" fmla="*/ 2787650 h 1912"/>
                <a:gd name="T74" fmla="*/ 2282825 w 1600"/>
                <a:gd name="T75" fmla="*/ 2787650 h 1912"/>
                <a:gd name="T76" fmla="*/ 2540000 w 1600"/>
                <a:gd name="T77" fmla="*/ 2540000 h 19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600" h="1912">
                  <a:moveTo>
                    <a:pt x="1600" y="1600"/>
                  </a:moveTo>
                  <a:lnTo>
                    <a:pt x="1600" y="1600"/>
                  </a:lnTo>
                  <a:lnTo>
                    <a:pt x="1598" y="1518"/>
                  </a:lnTo>
                  <a:lnTo>
                    <a:pt x="1592" y="1436"/>
                  </a:lnTo>
                  <a:lnTo>
                    <a:pt x="1582" y="1356"/>
                  </a:lnTo>
                  <a:lnTo>
                    <a:pt x="1568" y="1278"/>
                  </a:lnTo>
                  <a:lnTo>
                    <a:pt x="1550" y="1200"/>
                  </a:lnTo>
                  <a:lnTo>
                    <a:pt x="1528" y="1124"/>
                  </a:lnTo>
                  <a:lnTo>
                    <a:pt x="1504" y="1050"/>
                  </a:lnTo>
                  <a:lnTo>
                    <a:pt x="1474" y="978"/>
                  </a:lnTo>
                  <a:lnTo>
                    <a:pt x="1442" y="906"/>
                  </a:lnTo>
                  <a:lnTo>
                    <a:pt x="1408" y="838"/>
                  </a:lnTo>
                  <a:lnTo>
                    <a:pt x="1368" y="770"/>
                  </a:lnTo>
                  <a:lnTo>
                    <a:pt x="1328" y="706"/>
                  </a:lnTo>
                  <a:lnTo>
                    <a:pt x="1282" y="644"/>
                  </a:lnTo>
                  <a:lnTo>
                    <a:pt x="1236" y="582"/>
                  </a:lnTo>
                  <a:lnTo>
                    <a:pt x="1186" y="524"/>
                  </a:lnTo>
                  <a:lnTo>
                    <a:pt x="1132" y="470"/>
                  </a:lnTo>
                  <a:lnTo>
                    <a:pt x="1078" y="416"/>
                  </a:lnTo>
                  <a:lnTo>
                    <a:pt x="1020" y="366"/>
                  </a:lnTo>
                  <a:lnTo>
                    <a:pt x="958" y="318"/>
                  </a:lnTo>
                  <a:lnTo>
                    <a:pt x="896" y="274"/>
                  </a:lnTo>
                  <a:lnTo>
                    <a:pt x="832" y="232"/>
                  </a:lnTo>
                  <a:lnTo>
                    <a:pt x="764" y="194"/>
                  </a:lnTo>
                  <a:lnTo>
                    <a:pt x="696" y="158"/>
                  </a:lnTo>
                  <a:lnTo>
                    <a:pt x="624" y="126"/>
                  </a:lnTo>
                  <a:lnTo>
                    <a:pt x="552" y="98"/>
                  </a:lnTo>
                  <a:lnTo>
                    <a:pt x="478" y="72"/>
                  </a:lnTo>
                  <a:lnTo>
                    <a:pt x="402" y="50"/>
                  </a:lnTo>
                  <a:lnTo>
                    <a:pt x="324" y="32"/>
                  </a:lnTo>
                  <a:lnTo>
                    <a:pt x="246" y="18"/>
                  </a:lnTo>
                  <a:lnTo>
                    <a:pt x="166" y="8"/>
                  </a:lnTo>
                  <a:lnTo>
                    <a:pt x="86" y="2"/>
                  </a:lnTo>
                  <a:lnTo>
                    <a:pt x="2" y="0"/>
                  </a:lnTo>
                  <a:lnTo>
                    <a:pt x="158" y="158"/>
                  </a:lnTo>
                  <a:lnTo>
                    <a:pt x="312" y="318"/>
                  </a:lnTo>
                  <a:lnTo>
                    <a:pt x="158" y="476"/>
                  </a:lnTo>
                  <a:lnTo>
                    <a:pt x="2" y="636"/>
                  </a:lnTo>
                  <a:lnTo>
                    <a:pt x="0" y="640"/>
                  </a:lnTo>
                  <a:lnTo>
                    <a:pt x="50" y="642"/>
                  </a:lnTo>
                  <a:lnTo>
                    <a:pt x="98" y="644"/>
                  </a:lnTo>
                  <a:lnTo>
                    <a:pt x="146" y="652"/>
                  </a:lnTo>
                  <a:lnTo>
                    <a:pt x="194" y="660"/>
                  </a:lnTo>
                  <a:lnTo>
                    <a:pt x="240" y="670"/>
                  </a:lnTo>
                  <a:lnTo>
                    <a:pt x="286" y="684"/>
                  </a:lnTo>
                  <a:lnTo>
                    <a:pt x="330" y="698"/>
                  </a:lnTo>
                  <a:lnTo>
                    <a:pt x="374" y="716"/>
                  </a:lnTo>
                  <a:lnTo>
                    <a:pt x="416" y="734"/>
                  </a:lnTo>
                  <a:lnTo>
                    <a:pt x="458" y="756"/>
                  </a:lnTo>
                  <a:lnTo>
                    <a:pt x="498" y="778"/>
                  </a:lnTo>
                  <a:lnTo>
                    <a:pt x="536" y="804"/>
                  </a:lnTo>
                  <a:lnTo>
                    <a:pt x="574" y="830"/>
                  </a:lnTo>
                  <a:lnTo>
                    <a:pt x="610" y="860"/>
                  </a:lnTo>
                  <a:lnTo>
                    <a:pt x="646" y="890"/>
                  </a:lnTo>
                  <a:lnTo>
                    <a:pt x="678" y="920"/>
                  </a:lnTo>
                  <a:lnTo>
                    <a:pt x="710" y="954"/>
                  </a:lnTo>
                  <a:lnTo>
                    <a:pt x="740" y="990"/>
                  </a:lnTo>
                  <a:lnTo>
                    <a:pt x="770" y="1026"/>
                  </a:lnTo>
                  <a:lnTo>
                    <a:pt x="796" y="1064"/>
                  </a:lnTo>
                  <a:lnTo>
                    <a:pt x="822" y="1102"/>
                  </a:lnTo>
                  <a:lnTo>
                    <a:pt x="844" y="1142"/>
                  </a:lnTo>
                  <a:lnTo>
                    <a:pt x="866" y="1184"/>
                  </a:lnTo>
                  <a:lnTo>
                    <a:pt x="884" y="1226"/>
                  </a:lnTo>
                  <a:lnTo>
                    <a:pt x="902" y="1270"/>
                  </a:lnTo>
                  <a:lnTo>
                    <a:pt x="916" y="1314"/>
                  </a:lnTo>
                  <a:lnTo>
                    <a:pt x="930" y="1360"/>
                  </a:lnTo>
                  <a:lnTo>
                    <a:pt x="940" y="1406"/>
                  </a:lnTo>
                  <a:lnTo>
                    <a:pt x="948" y="1454"/>
                  </a:lnTo>
                  <a:lnTo>
                    <a:pt x="956" y="1502"/>
                  </a:lnTo>
                  <a:lnTo>
                    <a:pt x="958" y="1550"/>
                  </a:lnTo>
                  <a:lnTo>
                    <a:pt x="960" y="1600"/>
                  </a:lnTo>
                  <a:lnTo>
                    <a:pt x="962" y="1602"/>
                  </a:lnTo>
                  <a:lnTo>
                    <a:pt x="1120" y="1756"/>
                  </a:lnTo>
                  <a:lnTo>
                    <a:pt x="1280" y="1912"/>
                  </a:lnTo>
                  <a:lnTo>
                    <a:pt x="1438" y="1756"/>
                  </a:lnTo>
                  <a:lnTo>
                    <a:pt x="1598" y="1602"/>
                  </a:lnTo>
                  <a:lnTo>
                    <a:pt x="1600" y="1600"/>
                  </a:lnTo>
                  <a:close/>
                </a:path>
              </a:pathLst>
            </a:custGeom>
            <a:grpFill/>
            <a:ln w="6350" cmpd="sng">
              <a:solidFill>
                <a:schemeClr val="tx2">
                  <a:alpha val="60000"/>
                </a:schemeClr>
              </a:solidFill>
              <a:prstDash val="solid"/>
              <a:round/>
              <a:headEnd/>
              <a:tailEnd/>
            </a:ln>
          </p:spPr>
          <p:txBody>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124191"/>
                </a:solidFill>
                <a:effectLst/>
                <a:uLnTx/>
                <a:uFillTx/>
                <a:latin typeface="Nokia Pure Headline Light"/>
                <a:ea typeface="+mn-ea"/>
                <a:cs typeface="+mn-cs"/>
              </a:endParaRPr>
            </a:p>
          </p:txBody>
        </p:sp>
        <p:sp>
          <p:nvSpPr>
            <p:cNvPr id="291" name="Freihandform: Form 185"/>
            <p:cNvSpPr>
              <a:spLocks/>
            </p:cNvSpPr>
            <p:nvPr/>
          </p:nvSpPr>
          <p:spPr bwMode="auto">
            <a:xfrm rot="1000857">
              <a:off x="6868464" y="1644596"/>
              <a:ext cx="518094" cy="849968"/>
            </a:xfrm>
            <a:custGeom>
              <a:avLst/>
              <a:gdLst>
                <a:gd name="connsiteX0" fmla="*/ 313 w 518094"/>
                <a:gd name="connsiteY0" fmla="*/ 0 h 849968"/>
                <a:gd name="connsiteX1" fmla="*/ 1206 w 518094"/>
                <a:gd name="connsiteY1" fmla="*/ 881 h 849968"/>
                <a:gd name="connsiteX2" fmla="*/ 2283 w 518094"/>
                <a:gd name="connsiteY2" fmla="*/ 26354 h 849968"/>
                <a:gd name="connsiteX3" fmla="*/ 3360 w 518094"/>
                <a:gd name="connsiteY3" fmla="*/ 52888 h 849968"/>
                <a:gd name="connsiteX4" fmla="*/ 7667 w 518094"/>
                <a:gd name="connsiteY4" fmla="*/ 78360 h 849968"/>
                <a:gd name="connsiteX5" fmla="*/ 11974 w 518094"/>
                <a:gd name="connsiteY5" fmla="*/ 102771 h 849968"/>
                <a:gd name="connsiteX6" fmla="*/ 17359 w 518094"/>
                <a:gd name="connsiteY6" fmla="*/ 128244 h 849968"/>
                <a:gd name="connsiteX7" fmla="*/ 24896 w 518094"/>
                <a:gd name="connsiteY7" fmla="*/ 152655 h 849968"/>
                <a:gd name="connsiteX8" fmla="*/ 32435 w 518094"/>
                <a:gd name="connsiteY8" fmla="*/ 176005 h 849968"/>
                <a:gd name="connsiteX9" fmla="*/ 42126 w 518094"/>
                <a:gd name="connsiteY9" fmla="*/ 199355 h 849968"/>
                <a:gd name="connsiteX10" fmla="*/ 51818 w 518094"/>
                <a:gd name="connsiteY10" fmla="*/ 221644 h 849968"/>
                <a:gd name="connsiteX11" fmla="*/ 63663 w 518094"/>
                <a:gd name="connsiteY11" fmla="*/ 243932 h 849968"/>
                <a:gd name="connsiteX12" fmla="*/ 75509 w 518094"/>
                <a:gd name="connsiteY12" fmla="*/ 265159 h 849968"/>
                <a:gd name="connsiteX13" fmla="*/ 89508 w 518094"/>
                <a:gd name="connsiteY13" fmla="*/ 285325 h 849968"/>
                <a:gd name="connsiteX14" fmla="*/ 103507 w 518094"/>
                <a:gd name="connsiteY14" fmla="*/ 305491 h 849968"/>
                <a:gd name="connsiteX15" fmla="*/ 119659 w 518094"/>
                <a:gd name="connsiteY15" fmla="*/ 324595 h 849968"/>
                <a:gd name="connsiteX16" fmla="*/ 135812 w 518094"/>
                <a:gd name="connsiteY16" fmla="*/ 343700 h 849968"/>
                <a:gd name="connsiteX17" fmla="*/ 153042 w 518094"/>
                <a:gd name="connsiteY17" fmla="*/ 360682 h 849968"/>
                <a:gd name="connsiteX18" fmla="*/ 170271 w 518094"/>
                <a:gd name="connsiteY18" fmla="*/ 377663 h 849968"/>
                <a:gd name="connsiteX19" fmla="*/ 189655 w 518094"/>
                <a:gd name="connsiteY19" fmla="*/ 393584 h 849968"/>
                <a:gd name="connsiteX20" fmla="*/ 209038 w 518094"/>
                <a:gd name="connsiteY20" fmla="*/ 408443 h 849968"/>
                <a:gd name="connsiteX21" fmla="*/ 229498 w 518094"/>
                <a:gd name="connsiteY21" fmla="*/ 423302 h 849968"/>
                <a:gd name="connsiteX22" fmla="*/ 249958 w 518094"/>
                <a:gd name="connsiteY22" fmla="*/ 436038 h 849968"/>
                <a:gd name="connsiteX23" fmla="*/ 271495 w 518094"/>
                <a:gd name="connsiteY23" fmla="*/ 448774 h 849968"/>
                <a:gd name="connsiteX24" fmla="*/ 294109 w 518094"/>
                <a:gd name="connsiteY24" fmla="*/ 459388 h 849968"/>
                <a:gd name="connsiteX25" fmla="*/ 316723 w 518094"/>
                <a:gd name="connsiteY25" fmla="*/ 470002 h 849968"/>
                <a:gd name="connsiteX26" fmla="*/ 340414 w 518094"/>
                <a:gd name="connsiteY26" fmla="*/ 479554 h 849968"/>
                <a:gd name="connsiteX27" fmla="*/ 364104 w 518094"/>
                <a:gd name="connsiteY27" fmla="*/ 486983 h 849968"/>
                <a:gd name="connsiteX28" fmla="*/ 388872 w 518094"/>
                <a:gd name="connsiteY28" fmla="*/ 494413 h 849968"/>
                <a:gd name="connsiteX29" fmla="*/ 413640 w 518094"/>
                <a:gd name="connsiteY29" fmla="*/ 499720 h 849968"/>
                <a:gd name="connsiteX30" fmla="*/ 439484 w 518094"/>
                <a:gd name="connsiteY30" fmla="*/ 503965 h 849968"/>
                <a:gd name="connsiteX31" fmla="*/ 465328 w 518094"/>
                <a:gd name="connsiteY31" fmla="*/ 507149 h 849968"/>
                <a:gd name="connsiteX32" fmla="*/ 491173 w 518094"/>
                <a:gd name="connsiteY32" fmla="*/ 509272 h 849968"/>
                <a:gd name="connsiteX33" fmla="*/ 518094 w 518094"/>
                <a:gd name="connsiteY33" fmla="*/ 510333 h 849968"/>
                <a:gd name="connsiteX34" fmla="*/ 517017 w 518094"/>
                <a:gd name="connsiteY34" fmla="*/ 512456 h 849968"/>
                <a:gd name="connsiteX35" fmla="*/ 433023 w 518094"/>
                <a:gd name="connsiteY35" fmla="*/ 596303 h 849968"/>
                <a:gd name="connsiteX36" fmla="*/ 350105 w 518094"/>
                <a:gd name="connsiteY36" fmla="*/ 681212 h 849968"/>
                <a:gd name="connsiteX37" fmla="*/ 433023 w 518094"/>
                <a:gd name="connsiteY37" fmla="*/ 765059 h 849968"/>
                <a:gd name="connsiteX38" fmla="*/ 517017 w 518094"/>
                <a:gd name="connsiteY38" fmla="*/ 849968 h 849968"/>
                <a:gd name="connsiteX39" fmla="*/ 471790 w 518094"/>
                <a:gd name="connsiteY39" fmla="*/ 848907 h 849968"/>
                <a:gd name="connsiteX40" fmla="*/ 428715 w 518094"/>
                <a:gd name="connsiteY40" fmla="*/ 844661 h 849968"/>
                <a:gd name="connsiteX41" fmla="*/ 385641 w 518094"/>
                <a:gd name="connsiteY41" fmla="*/ 839355 h 849968"/>
                <a:gd name="connsiteX42" fmla="*/ 343644 w 518094"/>
                <a:gd name="connsiteY42" fmla="*/ 831925 h 849968"/>
                <a:gd name="connsiteX43" fmla="*/ 301647 w 518094"/>
                <a:gd name="connsiteY43" fmla="*/ 822373 h 849968"/>
                <a:gd name="connsiteX44" fmla="*/ 260727 w 518094"/>
                <a:gd name="connsiteY44" fmla="*/ 810698 h 849968"/>
                <a:gd name="connsiteX45" fmla="*/ 220883 w 518094"/>
                <a:gd name="connsiteY45" fmla="*/ 797961 h 849968"/>
                <a:gd name="connsiteX46" fmla="*/ 182117 w 518094"/>
                <a:gd name="connsiteY46" fmla="*/ 782041 h 849968"/>
                <a:gd name="connsiteX47" fmla="*/ 143350 w 518094"/>
                <a:gd name="connsiteY47" fmla="*/ 765059 h 849968"/>
                <a:gd name="connsiteX48" fmla="*/ 106737 w 518094"/>
                <a:gd name="connsiteY48" fmla="*/ 747016 h 849968"/>
                <a:gd name="connsiteX49" fmla="*/ 70124 w 518094"/>
                <a:gd name="connsiteY49" fmla="*/ 725789 h 849968"/>
                <a:gd name="connsiteX50" fmla="*/ 35665 w 518094"/>
                <a:gd name="connsiteY50" fmla="*/ 704562 h 849968"/>
                <a:gd name="connsiteX51" fmla="*/ 9852 w 518094"/>
                <a:gd name="connsiteY51" fmla="*/ 685686 h 849968"/>
                <a:gd name="connsiteX52" fmla="*/ 14841 w 518094"/>
                <a:gd name="connsiteY52" fmla="*/ 671190 h 849968"/>
                <a:gd name="connsiteX53" fmla="*/ 22010 w 518094"/>
                <a:gd name="connsiteY53" fmla="*/ 648284 h 849968"/>
                <a:gd name="connsiteX54" fmla="*/ 28588 w 518094"/>
                <a:gd name="connsiteY54" fmla="*/ 624430 h 849968"/>
                <a:gd name="connsiteX55" fmla="*/ 34575 w 518094"/>
                <a:gd name="connsiteY55" fmla="*/ 599628 h 849968"/>
                <a:gd name="connsiteX56" fmla="*/ 40245 w 518094"/>
                <a:gd name="connsiteY56" fmla="*/ 576340 h 849968"/>
                <a:gd name="connsiteX57" fmla="*/ 43823 w 518094"/>
                <a:gd name="connsiteY57" fmla="*/ 551723 h 849968"/>
                <a:gd name="connsiteX58" fmla="*/ 47993 w 518094"/>
                <a:gd name="connsiteY58" fmla="*/ 528055 h 849968"/>
                <a:gd name="connsiteX59" fmla="*/ 51571 w 518094"/>
                <a:gd name="connsiteY59" fmla="*/ 503438 h 849968"/>
                <a:gd name="connsiteX60" fmla="*/ 53650 w 518094"/>
                <a:gd name="connsiteY60" fmla="*/ 478440 h 849968"/>
                <a:gd name="connsiteX61" fmla="*/ 55411 w 518094"/>
                <a:gd name="connsiteY61" fmla="*/ 454956 h 849968"/>
                <a:gd name="connsiteX62" fmla="*/ 56580 w 518094"/>
                <a:gd name="connsiteY62" fmla="*/ 430524 h 849968"/>
                <a:gd name="connsiteX63" fmla="*/ 56250 w 518094"/>
                <a:gd name="connsiteY63" fmla="*/ 405711 h 849968"/>
                <a:gd name="connsiteX64" fmla="*/ 56511 w 518094"/>
                <a:gd name="connsiteY64" fmla="*/ 381846 h 849968"/>
                <a:gd name="connsiteX65" fmla="*/ 56182 w 518094"/>
                <a:gd name="connsiteY65" fmla="*/ 357033 h 849968"/>
                <a:gd name="connsiteX66" fmla="*/ 53442 w 518094"/>
                <a:gd name="connsiteY66" fmla="*/ 332405 h 849968"/>
                <a:gd name="connsiteX67" fmla="*/ 52204 w 518094"/>
                <a:gd name="connsiteY67" fmla="*/ 308159 h 849968"/>
                <a:gd name="connsiteX68" fmla="*/ 48557 w 518094"/>
                <a:gd name="connsiteY68" fmla="*/ 284097 h 849968"/>
                <a:gd name="connsiteX69" fmla="*/ 44910 w 518094"/>
                <a:gd name="connsiteY69" fmla="*/ 260036 h 849968"/>
                <a:gd name="connsiteX70" fmla="*/ 41263 w 518094"/>
                <a:gd name="connsiteY70" fmla="*/ 235974 h 849968"/>
                <a:gd name="connsiteX71" fmla="*/ 39797 w 518094"/>
                <a:gd name="connsiteY71" fmla="*/ 229016 h 849968"/>
                <a:gd name="connsiteX72" fmla="*/ 40106 w 518094"/>
                <a:gd name="connsiteY72" fmla="*/ 229085 h 849968"/>
                <a:gd name="connsiteX73" fmla="*/ 41557 w 518094"/>
                <a:gd name="connsiteY73" fmla="*/ 227508 h 849968"/>
                <a:gd name="connsiteX74" fmla="*/ 36921 w 518094"/>
                <a:gd name="connsiteY74" fmla="*/ 215356 h 849968"/>
                <a:gd name="connsiteX75" fmla="*/ 36116 w 518094"/>
                <a:gd name="connsiteY75" fmla="*/ 211531 h 849968"/>
                <a:gd name="connsiteX76" fmla="*/ 31560 w 518094"/>
                <a:gd name="connsiteY76" fmla="*/ 188036 h 849968"/>
                <a:gd name="connsiteX77" fmla="*/ 25504 w 518094"/>
                <a:gd name="connsiteY77" fmla="*/ 164160 h 849968"/>
                <a:gd name="connsiteX78" fmla="*/ 18540 w 518094"/>
                <a:gd name="connsiteY78" fmla="*/ 140850 h 849968"/>
                <a:gd name="connsiteX79" fmla="*/ 10985 w 518094"/>
                <a:gd name="connsiteY79" fmla="*/ 116593 h 849968"/>
                <a:gd name="connsiteX80" fmla="*/ 5984 w 518094"/>
                <a:gd name="connsiteY80" fmla="*/ 102148 h 849968"/>
                <a:gd name="connsiteX81" fmla="*/ 2858 w 518094"/>
                <a:gd name="connsiteY81" fmla="*/ 79821 h 849968"/>
                <a:gd name="connsiteX82" fmla="*/ 1018 w 518094"/>
                <a:gd name="connsiteY82" fmla="*/ 50474 h 849968"/>
                <a:gd name="connsiteX83" fmla="*/ 0 w 518094"/>
                <a:gd name="connsiteY83" fmla="*/ 21883 h 8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18094" h="849968">
                  <a:moveTo>
                    <a:pt x="313" y="0"/>
                  </a:moveTo>
                  <a:lnTo>
                    <a:pt x="1206" y="881"/>
                  </a:lnTo>
                  <a:lnTo>
                    <a:pt x="2283" y="26354"/>
                  </a:lnTo>
                  <a:lnTo>
                    <a:pt x="3360" y="52888"/>
                  </a:lnTo>
                  <a:lnTo>
                    <a:pt x="7667" y="78360"/>
                  </a:lnTo>
                  <a:lnTo>
                    <a:pt x="11974" y="102771"/>
                  </a:lnTo>
                  <a:lnTo>
                    <a:pt x="17359" y="128244"/>
                  </a:lnTo>
                  <a:lnTo>
                    <a:pt x="24896" y="152655"/>
                  </a:lnTo>
                  <a:lnTo>
                    <a:pt x="32435" y="176005"/>
                  </a:lnTo>
                  <a:lnTo>
                    <a:pt x="42126" y="199355"/>
                  </a:lnTo>
                  <a:lnTo>
                    <a:pt x="51818" y="221644"/>
                  </a:lnTo>
                  <a:lnTo>
                    <a:pt x="63663" y="243932"/>
                  </a:lnTo>
                  <a:lnTo>
                    <a:pt x="75509" y="265159"/>
                  </a:lnTo>
                  <a:lnTo>
                    <a:pt x="89508" y="285325"/>
                  </a:lnTo>
                  <a:lnTo>
                    <a:pt x="103507" y="305491"/>
                  </a:lnTo>
                  <a:lnTo>
                    <a:pt x="119659" y="324595"/>
                  </a:lnTo>
                  <a:lnTo>
                    <a:pt x="135812" y="343700"/>
                  </a:lnTo>
                  <a:lnTo>
                    <a:pt x="153042" y="360682"/>
                  </a:lnTo>
                  <a:lnTo>
                    <a:pt x="170271" y="377663"/>
                  </a:lnTo>
                  <a:lnTo>
                    <a:pt x="189655" y="393584"/>
                  </a:lnTo>
                  <a:lnTo>
                    <a:pt x="209038" y="408443"/>
                  </a:lnTo>
                  <a:lnTo>
                    <a:pt x="229498" y="423302"/>
                  </a:lnTo>
                  <a:lnTo>
                    <a:pt x="249958" y="436038"/>
                  </a:lnTo>
                  <a:lnTo>
                    <a:pt x="271495" y="448774"/>
                  </a:lnTo>
                  <a:lnTo>
                    <a:pt x="294109" y="459388"/>
                  </a:lnTo>
                  <a:lnTo>
                    <a:pt x="316723" y="470002"/>
                  </a:lnTo>
                  <a:lnTo>
                    <a:pt x="340414" y="479554"/>
                  </a:lnTo>
                  <a:lnTo>
                    <a:pt x="364104" y="486983"/>
                  </a:lnTo>
                  <a:lnTo>
                    <a:pt x="388872" y="494413"/>
                  </a:lnTo>
                  <a:lnTo>
                    <a:pt x="413640" y="499720"/>
                  </a:lnTo>
                  <a:lnTo>
                    <a:pt x="439484" y="503965"/>
                  </a:lnTo>
                  <a:lnTo>
                    <a:pt x="465328" y="507149"/>
                  </a:lnTo>
                  <a:lnTo>
                    <a:pt x="491173" y="509272"/>
                  </a:lnTo>
                  <a:lnTo>
                    <a:pt x="518094" y="510333"/>
                  </a:lnTo>
                  <a:lnTo>
                    <a:pt x="517017" y="512456"/>
                  </a:lnTo>
                  <a:lnTo>
                    <a:pt x="433023" y="596303"/>
                  </a:lnTo>
                  <a:lnTo>
                    <a:pt x="350105" y="681212"/>
                  </a:lnTo>
                  <a:lnTo>
                    <a:pt x="433023" y="765059"/>
                  </a:lnTo>
                  <a:lnTo>
                    <a:pt x="517017" y="849968"/>
                  </a:lnTo>
                  <a:lnTo>
                    <a:pt x="471790" y="848907"/>
                  </a:lnTo>
                  <a:lnTo>
                    <a:pt x="428715" y="844661"/>
                  </a:lnTo>
                  <a:lnTo>
                    <a:pt x="385641" y="839355"/>
                  </a:lnTo>
                  <a:lnTo>
                    <a:pt x="343644" y="831925"/>
                  </a:lnTo>
                  <a:lnTo>
                    <a:pt x="301647" y="822373"/>
                  </a:lnTo>
                  <a:lnTo>
                    <a:pt x="260727" y="810698"/>
                  </a:lnTo>
                  <a:lnTo>
                    <a:pt x="220883" y="797961"/>
                  </a:lnTo>
                  <a:lnTo>
                    <a:pt x="182117" y="782041"/>
                  </a:lnTo>
                  <a:lnTo>
                    <a:pt x="143350" y="765059"/>
                  </a:lnTo>
                  <a:lnTo>
                    <a:pt x="106737" y="747016"/>
                  </a:lnTo>
                  <a:lnTo>
                    <a:pt x="70124" y="725789"/>
                  </a:lnTo>
                  <a:lnTo>
                    <a:pt x="35665" y="704562"/>
                  </a:lnTo>
                  <a:lnTo>
                    <a:pt x="9852" y="685686"/>
                  </a:lnTo>
                  <a:lnTo>
                    <a:pt x="14841" y="671190"/>
                  </a:lnTo>
                  <a:lnTo>
                    <a:pt x="22010" y="648284"/>
                  </a:lnTo>
                  <a:lnTo>
                    <a:pt x="28588" y="624430"/>
                  </a:lnTo>
                  <a:lnTo>
                    <a:pt x="34575" y="599628"/>
                  </a:lnTo>
                  <a:lnTo>
                    <a:pt x="40245" y="576340"/>
                  </a:lnTo>
                  <a:lnTo>
                    <a:pt x="43823" y="551723"/>
                  </a:lnTo>
                  <a:lnTo>
                    <a:pt x="47993" y="528055"/>
                  </a:lnTo>
                  <a:lnTo>
                    <a:pt x="51571" y="503438"/>
                  </a:lnTo>
                  <a:lnTo>
                    <a:pt x="53650" y="478440"/>
                  </a:lnTo>
                  <a:lnTo>
                    <a:pt x="55411" y="454956"/>
                  </a:lnTo>
                  <a:lnTo>
                    <a:pt x="56580" y="430524"/>
                  </a:lnTo>
                  <a:lnTo>
                    <a:pt x="56250" y="405711"/>
                  </a:lnTo>
                  <a:lnTo>
                    <a:pt x="56511" y="381846"/>
                  </a:lnTo>
                  <a:lnTo>
                    <a:pt x="56182" y="357033"/>
                  </a:lnTo>
                  <a:lnTo>
                    <a:pt x="53442" y="332405"/>
                  </a:lnTo>
                  <a:lnTo>
                    <a:pt x="52204" y="308159"/>
                  </a:lnTo>
                  <a:lnTo>
                    <a:pt x="48557" y="284097"/>
                  </a:lnTo>
                  <a:lnTo>
                    <a:pt x="44910" y="260036"/>
                  </a:lnTo>
                  <a:lnTo>
                    <a:pt x="41263" y="235974"/>
                  </a:lnTo>
                  <a:lnTo>
                    <a:pt x="39797" y="229016"/>
                  </a:lnTo>
                  <a:lnTo>
                    <a:pt x="40106" y="229085"/>
                  </a:lnTo>
                  <a:lnTo>
                    <a:pt x="41557" y="227508"/>
                  </a:lnTo>
                  <a:lnTo>
                    <a:pt x="36921" y="215356"/>
                  </a:lnTo>
                  <a:lnTo>
                    <a:pt x="36116" y="211531"/>
                  </a:lnTo>
                  <a:lnTo>
                    <a:pt x="31560" y="188036"/>
                  </a:lnTo>
                  <a:lnTo>
                    <a:pt x="25504" y="164160"/>
                  </a:lnTo>
                  <a:lnTo>
                    <a:pt x="18540" y="140850"/>
                  </a:lnTo>
                  <a:lnTo>
                    <a:pt x="10985" y="116593"/>
                  </a:lnTo>
                  <a:lnTo>
                    <a:pt x="5984" y="102148"/>
                  </a:lnTo>
                  <a:lnTo>
                    <a:pt x="2858" y="79821"/>
                  </a:lnTo>
                  <a:lnTo>
                    <a:pt x="1018" y="50474"/>
                  </a:lnTo>
                  <a:lnTo>
                    <a:pt x="0" y="21883"/>
                  </a:lnTo>
                  <a:close/>
                </a:path>
              </a:pathLst>
            </a:custGeom>
            <a:grpFill/>
            <a:ln w="6350" cmpd="sng">
              <a:solidFill>
                <a:schemeClr val="tx2">
                  <a:alpha val="60000"/>
                </a:schemeClr>
              </a:solidFill>
              <a:prstDash val="solid"/>
              <a:round/>
              <a:headEnd/>
              <a:tailEnd/>
            </a:ln>
          </p:spPr>
          <p:txBody>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124191"/>
                </a:solidFill>
                <a:effectLst/>
                <a:uLnTx/>
                <a:uFillTx/>
                <a:latin typeface="Nokia Pure Headline Light"/>
                <a:ea typeface="+mn-ea"/>
                <a:cs typeface="+mn-cs"/>
              </a:endParaRPr>
            </a:p>
          </p:txBody>
        </p:sp>
        <p:sp>
          <p:nvSpPr>
            <p:cNvPr id="292" name="Freihandform: Form 186"/>
            <p:cNvSpPr>
              <a:spLocks noChangeAspect="1"/>
            </p:cNvSpPr>
            <p:nvPr/>
          </p:nvSpPr>
          <p:spPr bwMode="auto">
            <a:xfrm rot="20683958" flipH="1">
              <a:off x="6378479" y="1172543"/>
              <a:ext cx="848908" cy="1162789"/>
            </a:xfrm>
            <a:custGeom>
              <a:avLst/>
              <a:gdLst>
                <a:gd name="connsiteX0" fmla="*/ 181238 w 848908"/>
                <a:gd name="connsiteY0" fmla="*/ 0 h 1162789"/>
                <a:gd name="connsiteX1" fmla="*/ 90103 w 848908"/>
                <a:gd name="connsiteY1" fmla="*/ 52516 h 1162789"/>
                <a:gd name="connsiteX2" fmla="*/ 0 w 848908"/>
                <a:gd name="connsiteY2" fmla="*/ 105316 h 1162789"/>
                <a:gd name="connsiteX3" fmla="*/ 7619 w 848908"/>
                <a:gd name="connsiteY3" fmla="*/ 210575 h 1162789"/>
                <a:gd name="connsiteX4" fmla="*/ 15237 w 848908"/>
                <a:gd name="connsiteY4" fmla="*/ 315834 h 1162789"/>
                <a:gd name="connsiteX5" fmla="*/ 38964 w 848908"/>
                <a:gd name="connsiteY5" fmla="*/ 330494 h 1162789"/>
                <a:gd name="connsiteX6" fmla="*/ 63426 w 848908"/>
                <a:gd name="connsiteY6" fmla="*/ 346515 h 1162789"/>
                <a:gd name="connsiteX7" fmla="*/ 85526 w 848908"/>
                <a:gd name="connsiteY7" fmla="*/ 363043 h 1162789"/>
                <a:gd name="connsiteX8" fmla="*/ 108064 w 848908"/>
                <a:gd name="connsiteY8" fmla="*/ 382011 h 1162789"/>
                <a:gd name="connsiteX9" fmla="*/ 128240 w 848908"/>
                <a:gd name="connsiteY9" fmla="*/ 401486 h 1162789"/>
                <a:gd name="connsiteX10" fmla="*/ 148120 w 848908"/>
                <a:gd name="connsiteY10" fmla="*/ 422038 h 1162789"/>
                <a:gd name="connsiteX11" fmla="*/ 167404 w 848908"/>
                <a:gd name="connsiteY11" fmla="*/ 444744 h 1162789"/>
                <a:gd name="connsiteX12" fmla="*/ 184625 w 848908"/>
                <a:gd name="connsiteY12" fmla="*/ 466881 h 1162789"/>
                <a:gd name="connsiteX13" fmla="*/ 200953 w 848908"/>
                <a:gd name="connsiteY13" fmla="*/ 492249 h 1162789"/>
                <a:gd name="connsiteX14" fmla="*/ 215218 w 848908"/>
                <a:gd name="connsiteY14" fmla="*/ 517048 h 1162789"/>
                <a:gd name="connsiteX15" fmla="*/ 229185 w 848908"/>
                <a:gd name="connsiteY15" fmla="*/ 542923 h 1162789"/>
                <a:gd name="connsiteX16" fmla="*/ 238347 w 848908"/>
                <a:gd name="connsiteY16" fmla="*/ 563522 h 1162789"/>
                <a:gd name="connsiteX17" fmla="*/ 241748 w 848908"/>
                <a:gd name="connsiteY17" fmla="*/ 578425 h 1162789"/>
                <a:gd name="connsiteX18" fmla="*/ 248173 w 848908"/>
                <a:gd name="connsiteY18" fmla="*/ 603006 h 1162789"/>
                <a:gd name="connsiteX19" fmla="*/ 254598 w 848908"/>
                <a:gd name="connsiteY19" fmla="*/ 626470 h 1162789"/>
                <a:gd name="connsiteX20" fmla="*/ 262094 w 848908"/>
                <a:gd name="connsiteY20" fmla="*/ 649934 h 1162789"/>
                <a:gd name="connsiteX21" fmla="*/ 270661 w 848908"/>
                <a:gd name="connsiteY21" fmla="*/ 672281 h 1162789"/>
                <a:gd name="connsiteX22" fmla="*/ 272001 w 848908"/>
                <a:gd name="connsiteY22" fmla="*/ 675953 h 1162789"/>
                <a:gd name="connsiteX23" fmla="*/ 274498 w 848908"/>
                <a:gd name="connsiteY23" fmla="*/ 688717 h 1162789"/>
                <a:gd name="connsiteX24" fmla="*/ 276563 w 848908"/>
                <a:gd name="connsiteY24" fmla="*/ 689287 h 1162789"/>
                <a:gd name="connsiteX25" fmla="*/ 276789 w 848908"/>
                <a:gd name="connsiteY25" fmla="*/ 689065 h 1162789"/>
                <a:gd name="connsiteX26" fmla="*/ 279227 w 848908"/>
                <a:gd name="connsiteY26" fmla="*/ 695745 h 1162789"/>
                <a:gd name="connsiteX27" fmla="*/ 288865 w 848908"/>
                <a:gd name="connsiteY27" fmla="*/ 718092 h 1162789"/>
                <a:gd name="connsiteX28" fmla="*/ 298502 w 848908"/>
                <a:gd name="connsiteY28" fmla="*/ 740438 h 1162789"/>
                <a:gd name="connsiteX29" fmla="*/ 308140 w 848908"/>
                <a:gd name="connsiteY29" fmla="*/ 762785 h 1162789"/>
                <a:gd name="connsiteX30" fmla="*/ 319919 w 848908"/>
                <a:gd name="connsiteY30" fmla="*/ 784014 h 1162789"/>
                <a:gd name="connsiteX31" fmla="*/ 330627 w 848908"/>
                <a:gd name="connsiteY31" fmla="*/ 806361 h 1162789"/>
                <a:gd name="connsiteX32" fmla="*/ 343477 w 848908"/>
                <a:gd name="connsiteY32" fmla="*/ 827590 h 1162789"/>
                <a:gd name="connsiteX33" fmla="*/ 356327 w 848908"/>
                <a:gd name="connsiteY33" fmla="*/ 847702 h 1162789"/>
                <a:gd name="connsiteX34" fmla="*/ 369177 w 848908"/>
                <a:gd name="connsiteY34" fmla="*/ 868931 h 1162789"/>
                <a:gd name="connsiteX35" fmla="*/ 383097 w 848908"/>
                <a:gd name="connsiteY35" fmla="*/ 889043 h 1162789"/>
                <a:gd name="connsiteX36" fmla="*/ 397018 w 848908"/>
                <a:gd name="connsiteY36" fmla="*/ 908038 h 1162789"/>
                <a:gd name="connsiteX37" fmla="*/ 412010 w 848908"/>
                <a:gd name="connsiteY37" fmla="*/ 928150 h 1162789"/>
                <a:gd name="connsiteX38" fmla="*/ 428072 w 848908"/>
                <a:gd name="connsiteY38" fmla="*/ 947144 h 1162789"/>
                <a:gd name="connsiteX39" fmla="*/ 444135 w 848908"/>
                <a:gd name="connsiteY39" fmla="*/ 965021 h 1162789"/>
                <a:gd name="connsiteX40" fmla="*/ 460197 w 848908"/>
                <a:gd name="connsiteY40" fmla="*/ 984016 h 1162789"/>
                <a:gd name="connsiteX41" fmla="*/ 477331 w 848908"/>
                <a:gd name="connsiteY41" fmla="*/ 1000776 h 1162789"/>
                <a:gd name="connsiteX42" fmla="*/ 495535 w 848908"/>
                <a:gd name="connsiteY42" fmla="*/ 1018653 h 1162789"/>
                <a:gd name="connsiteX43" fmla="*/ 513739 w 848908"/>
                <a:gd name="connsiteY43" fmla="*/ 1035413 h 1162789"/>
                <a:gd name="connsiteX44" fmla="*/ 531943 w 848908"/>
                <a:gd name="connsiteY44" fmla="*/ 1051056 h 1162789"/>
                <a:gd name="connsiteX45" fmla="*/ 551218 w 848908"/>
                <a:gd name="connsiteY45" fmla="*/ 1066698 h 1162789"/>
                <a:gd name="connsiteX46" fmla="*/ 571563 w 848908"/>
                <a:gd name="connsiteY46" fmla="*/ 1082341 h 1162789"/>
                <a:gd name="connsiteX47" fmla="*/ 591909 w 848908"/>
                <a:gd name="connsiteY47" fmla="*/ 1096866 h 1162789"/>
                <a:gd name="connsiteX48" fmla="*/ 612255 w 848908"/>
                <a:gd name="connsiteY48" fmla="*/ 1111392 h 1162789"/>
                <a:gd name="connsiteX49" fmla="*/ 633672 w 848908"/>
                <a:gd name="connsiteY49" fmla="*/ 1124800 h 1162789"/>
                <a:gd name="connsiteX50" fmla="*/ 655088 w 848908"/>
                <a:gd name="connsiteY50" fmla="*/ 1138208 h 1162789"/>
                <a:gd name="connsiteX51" fmla="*/ 677576 w 848908"/>
                <a:gd name="connsiteY51" fmla="*/ 1150498 h 1162789"/>
                <a:gd name="connsiteX52" fmla="*/ 700063 w 848908"/>
                <a:gd name="connsiteY52" fmla="*/ 1162789 h 1162789"/>
                <a:gd name="connsiteX53" fmla="*/ 687213 w 848908"/>
                <a:gd name="connsiteY53" fmla="*/ 1057760 h 1162789"/>
                <a:gd name="connsiteX54" fmla="*/ 675434 w 848908"/>
                <a:gd name="connsiteY54" fmla="*/ 952731 h 1162789"/>
                <a:gd name="connsiteX55" fmla="*/ 762171 w 848908"/>
                <a:gd name="connsiteY55" fmla="*/ 896864 h 1162789"/>
                <a:gd name="connsiteX56" fmla="*/ 848908 w 848908"/>
                <a:gd name="connsiteY56" fmla="*/ 842115 h 1162789"/>
                <a:gd name="connsiteX57" fmla="*/ 848908 w 848908"/>
                <a:gd name="connsiteY57" fmla="*/ 839881 h 1162789"/>
                <a:gd name="connsiteX58" fmla="*/ 822137 w 848908"/>
                <a:gd name="connsiteY58" fmla="*/ 825355 h 1162789"/>
                <a:gd name="connsiteX59" fmla="*/ 796438 w 848908"/>
                <a:gd name="connsiteY59" fmla="*/ 809712 h 1162789"/>
                <a:gd name="connsiteX60" fmla="*/ 771808 w 848908"/>
                <a:gd name="connsiteY60" fmla="*/ 792953 h 1162789"/>
                <a:gd name="connsiteX61" fmla="*/ 748250 w 848908"/>
                <a:gd name="connsiteY61" fmla="*/ 773958 h 1162789"/>
                <a:gd name="connsiteX62" fmla="*/ 725763 w 848908"/>
                <a:gd name="connsiteY62" fmla="*/ 753846 h 1162789"/>
                <a:gd name="connsiteX63" fmla="*/ 705417 w 848908"/>
                <a:gd name="connsiteY63" fmla="*/ 732617 h 1162789"/>
                <a:gd name="connsiteX64" fmla="*/ 686142 w 848908"/>
                <a:gd name="connsiteY64" fmla="*/ 711387 h 1162789"/>
                <a:gd name="connsiteX65" fmla="*/ 666867 w 848908"/>
                <a:gd name="connsiteY65" fmla="*/ 687924 h 1162789"/>
                <a:gd name="connsiteX66" fmla="*/ 650805 w 848908"/>
                <a:gd name="connsiteY66" fmla="*/ 664460 h 1162789"/>
                <a:gd name="connsiteX67" fmla="*/ 634742 w 848908"/>
                <a:gd name="connsiteY67" fmla="*/ 638761 h 1162789"/>
                <a:gd name="connsiteX68" fmla="*/ 620822 w 848908"/>
                <a:gd name="connsiteY68" fmla="*/ 613062 h 1162789"/>
                <a:gd name="connsiteX69" fmla="*/ 607972 w 848908"/>
                <a:gd name="connsiteY69" fmla="*/ 587364 h 1162789"/>
                <a:gd name="connsiteX70" fmla="*/ 606863 w 848908"/>
                <a:gd name="connsiteY70" fmla="*/ 584736 h 1162789"/>
                <a:gd name="connsiteX71" fmla="*/ 603897 w 848908"/>
                <a:gd name="connsiteY71" fmla="*/ 569799 h 1162789"/>
                <a:gd name="connsiteX72" fmla="*/ 597452 w 848908"/>
                <a:gd name="connsiteY72" fmla="*/ 544840 h 1162789"/>
                <a:gd name="connsiteX73" fmla="*/ 591008 w 848908"/>
                <a:gd name="connsiteY73" fmla="*/ 519881 h 1162789"/>
                <a:gd name="connsiteX74" fmla="*/ 583234 w 848908"/>
                <a:gd name="connsiteY74" fmla="*/ 495714 h 1162789"/>
                <a:gd name="connsiteX75" fmla="*/ 575461 w 848908"/>
                <a:gd name="connsiteY75" fmla="*/ 471547 h 1162789"/>
                <a:gd name="connsiteX76" fmla="*/ 566655 w 848908"/>
                <a:gd name="connsiteY76" fmla="*/ 447095 h 1162789"/>
                <a:gd name="connsiteX77" fmla="*/ 557552 w 848908"/>
                <a:gd name="connsiteY77" fmla="*/ 423720 h 1162789"/>
                <a:gd name="connsiteX78" fmla="*/ 548152 w 848908"/>
                <a:gd name="connsiteY78" fmla="*/ 401423 h 1162789"/>
                <a:gd name="connsiteX79" fmla="*/ 537719 w 848908"/>
                <a:gd name="connsiteY79" fmla="*/ 378841 h 1162789"/>
                <a:gd name="connsiteX80" fmla="*/ 526254 w 848908"/>
                <a:gd name="connsiteY80" fmla="*/ 355973 h 1162789"/>
                <a:gd name="connsiteX81" fmla="*/ 515524 w 848908"/>
                <a:gd name="connsiteY81" fmla="*/ 334468 h 1162789"/>
                <a:gd name="connsiteX82" fmla="*/ 502433 w 848908"/>
                <a:gd name="connsiteY82" fmla="*/ 313471 h 1162789"/>
                <a:gd name="connsiteX83" fmla="*/ 490374 w 848908"/>
                <a:gd name="connsiteY83" fmla="*/ 292758 h 1162789"/>
                <a:gd name="connsiteX84" fmla="*/ 477283 w 848908"/>
                <a:gd name="connsiteY84" fmla="*/ 271760 h 1162789"/>
                <a:gd name="connsiteX85" fmla="*/ 462862 w 848908"/>
                <a:gd name="connsiteY85" fmla="*/ 251555 h 1162789"/>
                <a:gd name="connsiteX86" fmla="*/ 449176 w 848908"/>
                <a:gd name="connsiteY86" fmla="*/ 232711 h 1162789"/>
                <a:gd name="connsiteX87" fmla="*/ 434458 w 848908"/>
                <a:gd name="connsiteY87" fmla="*/ 213583 h 1162789"/>
                <a:gd name="connsiteX88" fmla="*/ 418411 w 848908"/>
                <a:gd name="connsiteY88" fmla="*/ 195247 h 1162789"/>
                <a:gd name="connsiteX89" fmla="*/ 403396 w 848908"/>
                <a:gd name="connsiteY89" fmla="*/ 177196 h 1162789"/>
                <a:gd name="connsiteX90" fmla="*/ 387349 w 848908"/>
                <a:gd name="connsiteY90" fmla="*/ 158860 h 1162789"/>
                <a:gd name="connsiteX91" fmla="*/ 369675 w 848908"/>
                <a:gd name="connsiteY91" fmla="*/ 142393 h 1162789"/>
                <a:gd name="connsiteX92" fmla="*/ 353331 w 848908"/>
                <a:gd name="connsiteY92" fmla="*/ 125134 h 1162789"/>
                <a:gd name="connsiteX93" fmla="*/ 335360 w 848908"/>
                <a:gd name="connsiteY93" fmla="*/ 109745 h 1162789"/>
                <a:gd name="connsiteX94" fmla="*/ 317389 w 848908"/>
                <a:gd name="connsiteY94" fmla="*/ 94355 h 1162789"/>
                <a:gd name="connsiteX95" fmla="*/ 299418 w 848908"/>
                <a:gd name="connsiteY95" fmla="*/ 78966 h 1162789"/>
                <a:gd name="connsiteX96" fmla="*/ 280117 w 848908"/>
                <a:gd name="connsiteY96" fmla="*/ 64369 h 1162789"/>
                <a:gd name="connsiteX97" fmla="*/ 261849 w 848908"/>
                <a:gd name="connsiteY97" fmla="*/ 50056 h 1162789"/>
                <a:gd name="connsiteX98" fmla="*/ 242252 w 848908"/>
                <a:gd name="connsiteY98" fmla="*/ 36537 h 1162789"/>
                <a:gd name="connsiteX99" fmla="*/ 222357 w 848908"/>
                <a:gd name="connsiteY99" fmla="*/ 24094 h 1162789"/>
                <a:gd name="connsiteX100" fmla="*/ 201430 w 848908"/>
                <a:gd name="connsiteY100" fmla="*/ 11366 h 1162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848908" h="1162789">
                  <a:moveTo>
                    <a:pt x="181238" y="0"/>
                  </a:moveTo>
                  <a:lnTo>
                    <a:pt x="90103" y="52516"/>
                  </a:lnTo>
                  <a:lnTo>
                    <a:pt x="0" y="105316"/>
                  </a:lnTo>
                  <a:lnTo>
                    <a:pt x="7619" y="210575"/>
                  </a:lnTo>
                  <a:lnTo>
                    <a:pt x="15237" y="315834"/>
                  </a:lnTo>
                  <a:lnTo>
                    <a:pt x="38964" y="330494"/>
                  </a:lnTo>
                  <a:lnTo>
                    <a:pt x="63426" y="346515"/>
                  </a:lnTo>
                  <a:lnTo>
                    <a:pt x="85526" y="363043"/>
                  </a:lnTo>
                  <a:lnTo>
                    <a:pt x="108064" y="382011"/>
                  </a:lnTo>
                  <a:lnTo>
                    <a:pt x="128240" y="401486"/>
                  </a:lnTo>
                  <a:lnTo>
                    <a:pt x="148120" y="422038"/>
                  </a:lnTo>
                  <a:lnTo>
                    <a:pt x="167404" y="444744"/>
                  </a:lnTo>
                  <a:lnTo>
                    <a:pt x="184625" y="466881"/>
                  </a:lnTo>
                  <a:lnTo>
                    <a:pt x="200953" y="492249"/>
                  </a:lnTo>
                  <a:lnTo>
                    <a:pt x="215218" y="517048"/>
                  </a:lnTo>
                  <a:lnTo>
                    <a:pt x="229185" y="542923"/>
                  </a:lnTo>
                  <a:lnTo>
                    <a:pt x="238347" y="563522"/>
                  </a:lnTo>
                  <a:lnTo>
                    <a:pt x="241748" y="578425"/>
                  </a:lnTo>
                  <a:lnTo>
                    <a:pt x="248173" y="603006"/>
                  </a:lnTo>
                  <a:lnTo>
                    <a:pt x="254598" y="626470"/>
                  </a:lnTo>
                  <a:lnTo>
                    <a:pt x="262094" y="649934"/>
                  </a:lnTo>
                  <a:lnTo>
                    <a:pt x="270661" y="672281"/>
                  </a:lnTo>
                  <a:lnTo>
                    <a:pt x="272001" y="675953"/>
                  </a:lnTo>
                  <a:lnTo>
                    <a:pt x="274498" y="688717"/>
                  </a:lnTo>
                  <a:lnTo>
                    <a:pt x="276563" y="689287"/>
                  </a:lnTo>
                  <a:lnTo>
                    <a:pt x="276789" y="689065"/>
                  </a:lnTo>
                  <a:lnTo>
                    <a:pt x="279227" y="695745"/>
                  </a:lnTo>
                  <a:lnTo>
                    <a:pt x="288865" y="718092"/>
                  </a:lnTo>
                  <a:lnTo>
                    <a:pt x="298502" y="740438"/>
                  </a:lnTo>
                  <a:lnTo>
                    <a:pt x="308140" y="762785"/>
                  </a:lnTo>
                  <a:lnTo>
                    <a:pt x="319919" y="784014"/>
                  </a:lnTo>
                  <a:lnTo>
                    <a:pt x="330627" y="806361"/>
                  </a:lnTo>
                  <a:lnTo>
                    <a:pt x="343477" y="827590"/>
                  </a:lnTo>
                  <a:lnTo>
                    <a:pt x="356327" y="847702"/>
                  </a:lnTo>
                  <a:lnTo>
                    <a:pt x="369177" y="868931"/>
                  </a:lnTo>
                  <a:lnTo>
                    <a:pt x="383097" y="889043"/>
                  </a:lnTo>
                  <a:lnTo>
                    <a:pt x="397018" y="908038"/>
                  </a:lnTo>
                  <a:lnTo>
                    <a:pt x="412010" y="928150"/>
                  </a:lnTo>
                  <a:lnTo>
                    <a:pt x="428072" y="947144"/>
                  </a:lnTo>
                  <a:lnTo>
                    <a:pt x="444135" y="965021"/>
                  </a:lnTo>
                  <a:lnTo>
                    <a:pt x="460197" y="984016"/>
                  </a:lnTo>
                  <a:lnTo>
                    <a:pt x="477331" y="1000776"/>
                  </a:lnTo>
                  <a:lnTo>
                    <a:pt x="495535" y="1018653"/>
                  </a:lnTo>
                  <a:lnTo>
                    <a:pt x="513739" y="1035413"/>
                  </a:lnTo>
                  <a:lnTo>
                    <a:pt x="531943" y="1051056"/>
                  </a:lnTo>
                  <a:lnTo>
                    <a:pt x="551218" y="1066698"/>
                  </a:lnTo>
                  <a:lnTo>
                    <a:pt x="571563" y="1082341"/>
                  </a:lnTo>
                  <a:lnTo>
                    <a:pt x="591909" y="1096866"/>
                  </a:lnTo>
                  <a:lnTo>
                    <a:pt x="612255" y="1111392"/>
                  </a:lnTo>
                  <a:lnTo>
                    <a:pt x="633672" y="1124800"/>
                  </a:lnTo>
                  <a:lnTo>
                    <a:pt x="655088" y="1138208"/>
                  </a:lnTo>
                  <a:lnTo>
                    <a:pt x="677576" y="1150498"/>
                  </a:lnTo>
                  <a:lnTo>
                    <a:pt x="700063" y="1162789"/>
                  </a:lnTo>
                  <a:lnTo>
                    <a:pt x="687213" y="1057760"/>
                  </a:lnTo>
                  <a:lnTo>
                    <a:pt x="675434" y="952731"/>
                  </a:lnTo>
                  <a:lnTo>
                    <a:pt x="762171" y="896864"/>
                  </a:lnTo>
                  <a:lnTo>
                    <a:pt x="848908" y="842115"/>
                  </a:lnTo>
                  <a:lnTo>
                    <a:pt x="848908" y="839881"/>
                  </a:lnTo>
                  <a:lnTo>
                    <a:pt x="822137" y="825355"/>
                  </a:lnTo>
                  <a:lnTo>
                    <a:pt x="796438" y="809712"/>
                  </a:lnTo>
                  <a:lnTo>
                    <a:pt x="771808" y="792953"/>
                  </a:lnTo>
                  <a:lnTo>
                    <a:pt x="748250" y="773958"/>
                  </a:lnTo>
                  <a:lnTo>
                    <a:pt x="725763" y="753846"/>
                  </a:lnTo>
                  <a:lnTo>
                    <a:pt x="705417" y="732617"/>
                  </a:lnTo>
                  <a:lnTo>
                    <a:pt x="686142" y="711387"/>
                  </a:lnTo>
                  <a:lnTo>
                    <a:pt x="666867" y="687924"/>
                  </a:lnTo>
                  <a:lnTo>
                    <a:pt x="650805" y="664460"/>
                  </a:lnTo>
                  <a:lnTo>
                    <a:pt x="634742" y="638761"/>
                  </a:lnTo>
                  <a:lnTo>
                    <a:pt x="620822" y="613062"/>
                  </a:lnTo>
                  <a:lnTo>
                    <a:pt x="607972" y="587364"/>
                  </a:lnTo>
                  <a:lnTo>
                    <a:pt x="606863" y="584736"/>
                  </a:lnTo>
                  <a:lnTo>
                    <a:pt x="603897" y="569799"/>
                  </a:lnTo>
                  <a:lnTo>
                    <a:pt x="597452" y="544840"/>
                  </a:lnTo>
                  <a:lnTo>
                    <a:pt x="591008" y="519881"/>
                  </a:lnTo>
                  <a:lnTo>
                    <a:pt x="583234" y="495714"/>
                  </a:lnTo>
                  <a:lnTo>
                    <a:pt x="575461" y="471547"/>
                  </a:lnTo>
                  <a:lnTo>
                    <a:pt x="566655" y="447095"/>
                  </a:lnTo>
                  <a:lnTo>
                    <a:pt x="557552" y="423720"/>
                  </a:lnTo>
                  <a:lnTo>
                    <a:pt x="548152" y="401423"/>
                  </a:lnTo>
                  <a:lnTo>
                    <a:pt x="537719" y="378841"/>
                  </a:lnTo>
                  <a:lnTo>
                    <a:pt x="526254" y="355973"/>
                  </a:lnTo>
                  <a:lnTo>
                    <a:pt x="515524" y="334468"/>
                  </a:lnTo>
                  <a:lnTo>
                    <a:pt x="502433" y="313471"/>
                  </a:lnTo>
                  <a:lnTo>
                    <a:pt x="490374" y="292758"/>
                  </a:lnTo>
                  <a:lnTo>
                    <a:pt x="477283" y="271760"/>
                  </a:lnTo>
                  <a:lnTo>
                    <a:pt x="462862" y="251555"/>
                  </a:lnTo>
                  <a:lnTo>
                    <a:pt x="449176" y="232711"/>
                  </a:lnTo>
                  <a:lnTo>
                    <a:pt x="434458" y="213583"/>
                  </a:lnTo>
                  <a:lnTo>
                    <a:pt x="418411" y="195247"/>
                  </a:lnTo>
                  <a:lnTo>
                    <a:pt x="403396" y="177196"/>
                  </a:lnTo>
                  <a:lnTo>
                    <a:pt x="387349" y="158860"/>
                  </a:lnTo>
                  <a:lnTo>
                    <a:pt x="369675" y="142393"/>
                  </a:lnTo>
                  <a:lnTo>
                    <a:pt x="353331" y="125134"/>
                  </a:lnTo>
                  <a:lnTo>
                    <a:pt x="335360" y="109745"/>
                  </a:lnTo>
                  <a:lnTo>
                    <a:pt x="317389" y="94355"/>
                  </a:lnTo>
                  <a:lnTo>
                    <a:pt x="299418" y="78966"/>
                  </a:lnTo>
                  <a:lnTo>
                    <a:pt x="280117" y="64369"/>
                  </a:lnTo>
                  <a:lnTo>
                    <a:pt x="261849" y="50056"/>
                  </a:lnTo>
                  <a:lnTo>
                    <a:pt x="242252" y="36537"/>
                  </a:lnTo>
                  <a:lnTo>
                    <a:pt x="222357" y="24094"/>
                  </a:lnTo>
                  <a:lnTo>
                    <a:pt x="201430" y="11366"/>
                  </a:lnTo>
                  <a:close/>
                </a:path>
              </a:pathLst>
            </a:custGeom>
            <a:grpFill/>
            <a:ln w="6350" cmpd="sng">
              <a:solidFill>
                <a:schemeClr val="tx2">
                  <a:alpha val="60000"/>
                </a:schemeClr>
              </a:solidFill>
              <a:prstDash val="solid"/>
              <a:round/>
              <a:headEnd/>
              <a:tailEnd/>
            </a:ln>
            <a:extLst/>
          </p:spPr>
          <p:txBody>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124191"/>
                </a:solidFill>
                <a:effectLst/>
                <a:uLnTx/>
                <a:uFillTx/>
                <a:latin typeface="Nokia Pure Headline Light"/>
                <a:ea typeface="+mn-ea"/>
                <a:cs typeface="+mn-cs"/>
              </a:endParaRPr>
            </a:p>
          </p:txBody>
        </p:sp>
        <p:sp>
          <p:nvSpPr>
            <p:cNvPr id="293" name="Freihandform: Form 187"/>
            <p:cNvSpPr>
              <a:spLocks/>
            </p:cNvSpPr>
            <p:nvPr/>
          </p:nvSpPr>
          <p:spPr bwMode="auto">
            <a:xfrm rot="178732" flipH="1">
              <a:off x="5582706" y="2100811"/>
              <a:ext cx="1106318" cy="486373"/>
            </a:xfrm>
            <a:custGeom>
              <a:avLst/>
              <a:gdLst>
                <a:gd name="connsiteX0" fmla="*/ 238198 w 1106318"/>
                <a:gd name="connsiteY0" fmla="*/ 0 h 486373"/>
                <a:gd name="connsiteX1" fmla="*/ 139619 w 1106318"/>
                <a:gd name="connsiteY1" fmla="*/ 24604 h 486373"/>
                <a:gd name="connsiteX2" fmla="*/ 39751 w 1106318"/>
                <a:gd name="connsiteY2" fmla="*/ 50504 h 486373"/>
                <a:gd name="connsiteX3" fmla="*/ 35836 w 1106318"/>
                <a:gd name="connsiteY3" fmla="*/ 69172 h 486373"/>
                <a:gd name="connsiteX4" fmla="*/ 163790 w 1106318"/>
                <a:gd name="connsiteY4" fmla="*/ 58918 h 486373"/>
                <a:gd name="connsiteX5" fmla="*/ 163941 w 1106318"/>
                <a:gd name="connsiteY5" fmla="*/ 58907 h 486373"/>
                <a:gd name="connsiteX6" fmla="*/ 163789 w 1106318"/>
                <a:gd name="connsiteY6" fmla="*/ 58920 h 486373"/>
                <a:gd name="connsiteX7" fmla="*/ 35835 w 1106318"/>
                <a:gd name="connsiteY7" fmla="*/ 69173 h 486373"/>
                <a:gd name="connsiteX8" fmla="*/ 18054 w 1106318"/>
                <a:gd name="connsiteY8" fmla="*/ 153941 h 486373"/>
                <a:gd name="connsiteX9" fmla="*/ 0 w 1106318"/>
                <a:gd name="connsiteY9" fmla="*/ 244527 h 486373"/>
                <a:gd name="connsiteX10" fmla="*/ 12427 w 1106318"/>
                <a:gd name="connsiteY10" fmla="*/ 256774 h 486373"/>
                <a:gd name="connsiteX11" fmla="*/ 38191 w 1106318"/>
                <a:gd name="connsiteY11" fmla="*/ 278993 h 486373"/>
                <a:gd name="connsiteX12" fmla="*/ 66102 w 1106318"/>
                <a:gd name="connsiteY12" fmla="*/ 301212 h 486373"/>
                <a:gd name="connsiteX13" fmla="*/ 94012 w 1106318"/>
                <a:gd name="connsiteY13" fmla="*/ 322373 h 486373"/>
                <a:gd name="connsiteX14" fmla="*/ 94012 w 1106318"/>
                <a:gd name="connsiteY14" fmla="*/ 322375 h 486373"/>
                <a:gd name="connsiteX15" fmla="*/ 121922 w 1106318"/>
                <a:gd name="connsiteY15" fmla="*/ 342478 h 486373"/>
                <a:gd name="connsiteX16" fmla="*/ 150907 w 1106318"/>
                <a:gd name="connsiteY16" fmla="*/ 360465 h 486373"/>
                <a:gd name="connsiteX17" fmla="*/ 179891 w 1106318"/>
                <a:gd name="connsiteY17" fmla="*/ 377394 h 486373"/>
                <a:gd name="connsiteX18" fmla="*/ 209949 w 1106318"/>
                <a:gd name="connsiteY18" fmla="*/ 392206 h 486373"/>
                <a:gd name="connsiteX19" fmla="*/ 240007 w 1106318"/>
                <a:gd name="connsiteY19" fmla="*/ 407019 h 486373"/>
                <a:gd name="connsiteX20" fmla="*/ 270065 w 1106318"/>
                <a:gd name="connsiteY20" fmla="*/ 420774 h 486373"/>
                <a:gd name="connsiteX21" fmla="*/ 301197 w 1106318"/>
                <a:gd name="connsiteY21" fmla="*/ 432412 h 486373"/>
                <a:gd name="connsiteX22" fmla="*/ 332328 w 1106318"/>
                <a:gd name="connsiteY22" fmla="*/ 442993 h 486373"/>
                <a:gd name="connsiteX23" fmla="*/ 364532 w 1106318"/>
                <a:gd name="connsiteY23" fmla="*/ 453573 h 486373"/>
                <a:gd name="connsiteX24" fmla="*/ 396738 w 1106318"/>
                <a:gd name="connsiteY24" fmla="*/ 462038 h 486373"/>
                <a:gd name="connsiteX25" fmla="*/ 428942 w 1106318"/>
                <a:gd name="connsiteY25" fmla="*/ 468386 h 486373"/>
                <a:gd name="connsiteX26" fmla="*/ 462221 w 1106318"/>
                <a:gd name="connsiteY26" fmla="*/ 474734 h 486373"/>
                <a:gd name="connsiteX27" fmla="*/ 494426 w 1106318"/>
                <a:gd name="connsiteY27" fmla="*/ 478967 h 486373"/>
                <a:gd name="connsiteX28" fmla="*/ 527704 w 1106318"/>
                <a:gd name="connsiteY28" fmla="*/ 483199 h 486373"/>
                <a:gd name="connsiteX29" fmla="*/ 560982 w 1106318"/>
                <a:gd name="connsiteY29" fmla="*/ 485315 h 486373"/>
                <a:gd name="connsiteX30" fmla="*/ 594261 w 1106318"/>
                <a:gd name="connsiteY30" fmla="*/ 486373 h 486373"/>
                <a:gd name="connsiteX31" fmla="*/ 627539 w 1106318"/>
                <a:gd name="connsiteY31" fmla="*/ 485315 h 486373"/>
                <a:gd name="connsiteX32" fmla="*/ 660817 w 1106318"/>
                <a:gd name="connsiteY32" fmla="*/ 484257 h 486373"/>
                <a:gd name="connsiteX33" fmla="*/ 694096 w 1106318"/>
                <a:gd name="connsiteY33" fmla="*/ 481083 h 486373"/>
                <a:gd name="connsiteX34" fmla="*/ 727374 w 1106318"/>
                <a:gd name="connsiteY34" fmla="*/ 476851 h 486373"/>
                <a:gd name="connsiteX35" fmla="*/ 760652 w 1106318"/>
                <a:gd name="connsiteY35" fmla="*/ 471560 h 486373"/>
                <a:gd name="connsiteX36" fmla="*/ 793931 w 1106318"/>
                <a:gd name="connsiteY36" fmla="*/ 465212 h 486373"/>
                <a:gd name="connsiteX37" fmla="*/ 826136 w 1106318"/>
                <a:gd name="connsiteY37" fmla="*/ 456747 h 486373"/>
                <a:gd name="connsiteX38" fmla="*/ 858341 w 1106318"/>
                <a:gd name="connsiteY38" fmla="*/ 447225 h 486373"/>
                <a:gd name="connsiteX39" fmla="*/ 890545 w 1106318"/>
                <a:gd name="connsiteY39" fmla="*/ 436644 h 486373"/>
                <a:gd name="connsiteX40" fmla="*/ 922750 w 1106318"/>
                <a:gd name="connsiteY40" fmla="*/ 425006 h 486373"/>
                <a:gd name="connsiteX41" fmla="*/ 954955 w 1106318"/>
                <a:gd name="connsiteY41" fmla="*/ 411251 h 486373"/>
                <a:gd name="connsiteX42" fmla="*/ 986086 w 1106318"/>
                <a:gd name="connsiteY42" fmla="*/ 396438 h 486373"/>
                <a:gd name="connsiteX43" fmla="*/ 1017218 w 1106318"/>
                <a:gd name="connsiteY43" fmla="*/ 380568 h 486373"/>
                <a:gd name="connsiteX44" fmla="*/ 1047276 w 1106318"/>
                <a:gd name="connsiteY44" fmla="*/ 362581 h 486373"/>
                <a:gd name="connsiteX45" fmla="*/ 1077333 w 1106318"/>
                <a:gd name="connsiteY45" fmla="*/ 344594 h 486373"/>
                <a:gd name="connsiteX46" fmla="*/ 1106318 w 1106318"/>
                <a:gd name="connsiteY46" fmla="*/ 324491 h 486373"/>
                <a:gd name="connsiteX47" fmla="*/ 842238 w 1106318"/>
                <a:gd name="connsiteY47" fmla="*/ 304388 h 486373"/>
                <a:gd name="connsiteX48" fmla="*/ 873369 w 1106318"/>
                <a:gd name="connsiteY48" fmla="*/ 177422 h 486373"/>
                <a:gd name="connsiteX49" fmla="*/ 904501 w 1106318"/>
                <a:gd name="connsiteY49" fmla="*/ 50455 h 486373"/>
                <a:gd name="connsiteX50" fmla="*/ 886252 w 1106318"/>
                <a:gd name="connsiteY50" fmla="*/ 62094 h 486373"/>
                <a:gd name="connsiteX51" fmla="*/ 869076 w 1106318"/>
                <a:gd name="connsiteY51" fmla="*/ 73732 h 486373"/>
                <a:gd name="connsiteX52" fmla="*/ 850826 w 1106318"/>
                <a:gd name="connsiteY52" fmla="*/ 84313 h 486373"/>
                <a:gd name="connsiteX53" fmla="*/ 832577 w 1106318"/>
                <a:gd name="connsiteY53" fmla="*/ 93835 h 486373"/>
                <a:gd name="connsiteX54" fmla="*/ 813254 w 1106318"/>
                <a:gd name="connsiteY54" fmla="*/ 102300 h 486373"/>
                <a:gd name="connsiteX55" fmla="*/ 793931 w 1106318"/>
                <a:gd name="connsiteY55" fmla="*/ 110764 h 486373"/>
                <a:gd name="connsiteX56" fmla="*/ 774608 w 1106318"/>
                <a:gd name="connsiteY56" fmla="*/ 118171 h 486373"/>
                <a:gd name="connsiteX57" fmla="*/ 755285 w 1106318"/>
                <a:gd name="connsiteY57" fmla="*/ 124519 h 486373"/>
                <a:gd name="connsiteX58" fmla="*/ 735962 w 1106318"/>
                <a:gd name="connsiteY58" fmla="*/ 129809 h 486373"/>
                <a:gd name="connsiteX59" fmla="*/ 716639 w 1106318"/>
                <a:gd name="connsiteY59" fmla="*/ 135099 h 486373"/>
                <a:gd name="connsiteX60" fmla="*/ 696242 w 1106318"/>
                <a:gd name="connsiteY60" fmla="*/ 138274 h 486373"/>
                <a:gd name="connsiteX61" fmla="*/ 676920 w 1106318"/>
                <a:gd name="connsiteY61" fmla="*/ 142506 h 486373"/>
                <a:gd name="connsiteX62" fmla="*/ 656523 w 1106318"/>
                <a:gd name="connsiteY62" fmla="*/ 144622 h 486373"/>
                <a:gd name="connsiteX63" fmla="*/ 636127 w 1106318"/>
                <a:gd name="connsiteY63" fmla="*/ 145680 h 486373"/>
                <a:gd name="connsiteX64" fmla="*/ 616804 w 1106318"/>
                <a:gd name="connsiteY64" fmla="*/ 146738 h 486373"/>
                <a:gd name="connsiteX65" fmla="*/ 596408 w 1106318"/>
                <a:gd name="connsiteY65" fmla="*/ 147796 h 486373"/>
                <a:gd name="connsiteX66" fmla="*/ 577085 w 1106318"/>
                <a:gd name="connsiteY66" fmla="*/ 146738 h 486373"/>
                <a:gd name="connsiteX67" fmla="*/ 556689 w 1106318"/>
                <a:gd name="connsiteY67" fmla="*/ 145680 h 486373"/>
                <a:gd name="connsiteX68" fmla="*/ 536292 w 1106318"/>
                <a:gd name="connsiteY68" fmla="*/ 143564 h 486373"/>
                <a:gd name="connsiteX69" fmla="*/ 516969 w 1106318"/>
                <a:gd name="connsiteY69" fmla="*/ 140390 h 486373"/>
                <a:gd name="connsiteX70" fmla="*/ 497646 w 1106318"/>
                <a:gd name="connsiteY70" fmla="*/ 137216 h 486373"/>
                <a:gd name="connsiteX71" fmla="*/ 478323 w 1106318"/>
                <a:gd name="connsiteY71" fmla="*/ 132983 h 486373"/>
                <a:gd name="connsiteX72" fmla="*/ 459000 w 1106318"/>
                <a:gd name="connsiteY72" fmla="*/ 127693 h 486373"/>
                <a:gd name="connsiteX73" fmla="*/ 439677 w 1106318"/>
                <a:gd name="connsiteY73" fmla="*/ 121345 h 486373"/>
                <a:gd name="connsiteX74" fmla="*/ 420354 w 1106318"/>
                <a:gd name="connsiteY74" fmla="*/ 114996 h 486373"/>
                <a:gd name="connsiteX75" fmla="*/ 402105 w 1106318"/>
                <a:gd name="connsiteY75" fmla="*/ 107590 h 486373"/>
                <a:gd name="connsiteX76" fmla="*/ 383855 w 1106318"/>
                <a:gd name="connsiteY76" fmla="*/ 100184 h 486373"/>
                <a:gd name="connsiteX77" fmla="*/ 365606 w 1106318"/>
                <a:gd name="connsiteY77" fmla="*/ 90661 h 486373"/>
                <a:gd name="connsiteX78" fmla="*/ 347357 w 1106318"/>
                <a:gd name="connsiteY78" fmla="*/ 81139 h 486373"/>
                <a:gd name="connsiteX79" fmla="*/ 330181 w 1106318"/>
                <a:gd name="connsiteY79" fmla="*/ 71616 h 486373"/>
                <a:gd name="connsiteX80" fmla="*/ 313005 w 1106318"/>
                <a:gd name="connsiteY80" fmla="*/ 59978 h 486373"/>
                <a:gd name="connsiteX81" fmla="*/ 296903 w 1106318"/>
                <a:gd name="connsiteY81" fmla="*/ 48339 h 486373"/>
                <a:gd name="connsiteX82" fmla="*/ 294710 w 1106318"/>
                <a:gd name="connsiteY82" fmla="*/ 48513 h 486373"/>
                <a:gd name="connsiteX83" fmla="*/ 279727 w 1106318"/>
                <a:gd name="connsiteY83" fmla="*/ 36699 h 486373"/>
                <a:gd name="connsiteX84" fmla="*/ 262551 w 1106318"/>
                <a:gd name="connsiteY84" fmla="*/ 22944 h 486373"/>
                <a:gd name="connsiteX85" fmla="*/ 247522 w 1106318"/>
                <a:gd name="connsiteY85" fmla="*/ 9190 h 486373"/>
                <a:gd name="connsiteX0" fmla="*/ 238198 w 1106318"/>
                <a:gd name="connsiteY0" fmla="*/ 0 h 486373"/>
                <a:gd name="connsiteX1" fmla="*/ 139619 w 1106318"/>
                <a:gd name="connsiteY1" fmla="*/ 24604 h 486373"/>
                <a:gd name="connsiteX2" fmla="*/ 39751 w 1106318"/>
                <a:gd name="connsiteY2" fmla="*/ 50504 h 486373"/>
                <a:gd name="connsiteX3" fmla="*/ 35836 w 1106318"/>
                <a:gd name="connsiteY3" fmla="*/ 69172 h 486373"/>
                <a:gd name="connsiteX4" fmla="*/ 163790 w 1106318"/>
                <a:gd name="connsiteY4" fmla="*/ 58918 h 486373"/>
                <a:gd name="connsiteX5" fmla="*/ 163941 w 1106318"/>
                <a:gd name="connsiteY5" fmla="*/ 58907 h 486373"/>
                <a:gd name="connsiteX6" fmla="*/ 35835 w 1106318"/>
                <a:gd name="connsiteY6" fmla="*/ 69173 h 486373"/>
                <a:gd name="connsiteX7" fmla="*/ 18054 w 1106318"/>
                <a:gd name="connsiteY7" fmla="*/ 153941 h 486373"/>
                <a:gd name="connsiteX8" fmla="*/ 0 w 1106318"/>
                <a:gd name="connsiteY8" fmla="*/ 244527 h 486373"/>
                <a:gd name="connsiteX9" fmla="*/ 12427 w 1106318"/>
                <a:gd name="connsiteY9" fmla="*/ 256774 h 486373"/>
                <a:gd name="connsiteX10" fmla="*/ 38191 w 1106318"/>
                <a:gd name="connsiteY10" fmla="*/ 278993 h 486373"/>
                <a:gd name="connsiteX11" fmla="*/ 66102 w 1106318"/>
                <a:gd name="connsiteY11" fmla="*/ 301212 h 486373"/>
                <a:gd name="connsiteX12" fmla="*/ 94012 w 1106318"/>
                <a:gd name="connsiteY12" fmla="*/ 322373 h 486373"/>
                <a:gd name="connsiteX13" fmla="*/ 94012 w 1106318"/>
                <a:gd name="connsiteY13" fmla="*/ 322375 h 486373"/>
                <a:gd name="connsiteX14" fmla="*/ 121922 w 1106318"/>
                <a:gd name="connsiteY14" fmla="*/ 342478 h 486373"/>
                <a:gd name="connsiteX15" fmla="*/ 150907 w 1106318"/>
                <a:gd name="connsiteY15" fmla="*/ 360465 h 486373"/>
                <a:gd name="connsiteX16" fmla="*/ 179891 w 1106318"/>
                <a:gd name="connsiteY16" fmla="*/ 377394 h 486373"/>
                <a:gd name="connsiteX17" fmla="*/ 209949 w 1106318"/>
                <a:gd name="connsiteY17" fmla="*/ 392206 h 486373"/>
                <a:gd name="connsiteX18" fmla="*/ 240007 w 1106318"/>
                <a:gd name="connsiteY18" fmla="*/ 407019 h 486373"/>
                <a:gd name="connsiteX19" fmla="*/ 270065 w 1106318"/>
                <a:gd name="connsiteY19" fmla="*/ 420774 h 486373"/>
                <a:gd name="connsiteX20" fmla="*/ 301197 w 1106318"/>
                <a:gd name="connsiteY20" fmla="*/ 432412 h 486373"/>
                <a:gd name="connsiteX21" fmla="*/ 332328 w 1106318"/>
                <a:gd name="connsiteY21" fmla="*/ 442993 h 486373"/>
                <a:gd name="connsiteX22" fmla="*/ 364532 w 1106318"/>
                <a:gd name="connsiteY22" fmla="*/ 453573 h 486373"/>
                <a:gd name="connsiteX23" fmla="*/ 396738 w 1106318"/>
                <a:gd name="connsiteY23" fmla="*/ 462038 h 486373"/>
                <a:gd name="connsiteX24" fmla="*/ 428942 w 1106318"/>
                <a:gd name="connsiteY24" fmla="*/ 468386 h 486373"/>
                <a:gd name="connsiteX25" fmla="*/ 462221 w 1106318"/>
                <a:gd name="connsiteY25" fmla="*/ 474734 h 486373"/>
                <a:gd name="connsiteX26" fmla="*/ 494426 w 1106318"/>
                <a:gd name="connsiteY26" fmla="*/ 478967 h 486373"/>
                <a:gd name="connsiteX27" fmla="*/ 527704 w 1106318"/>
                <a:gd name="connsiteY27" fmla="*/ 483199 h 486373"/>
                <a:gd name="connsiteX28" fmla="*/ 560982 w 1106318"/>
                <a:gd name="connsiteY28" fmla="*/ 485315 h 486373"/>
                <a:gd name="connsiteX29" fmla="*/ 594261 w 1106318"/>
                <a:gd name="connsiteY29" fmla="*/ 486373 h 486373"/>
                <a:gd name="connsiteX30" fmla="*/ 627539 w 1106318"/>
                <a:gd name="connsiteY30" fmla="*/ 485315 h 486373"/>
                <a:gd name="connsiteX31" fmla="*/ 660817 w 1106318"/>
                <a:gd name="connsiteY31" fmla="*/ 484257 h 486373"/>
                <a:gd name="connsiteX32" fmla="*/ 694096 w 1106318"/>
                <a:gd name="connsiteY32" fmla="*/ 481083 h 486373"/>
                <a:gd name="connsiteX33" fmla="*/ 727374 w 1106318"/>
                <a:gd name="connsiteY33" fmla="*/ 476851 h 486373"/>
                <a:gd name="connsiteX34" fmla="*/ 760652 w 1106318"/>
                <a:gd name="connsiteY34" fmla="*/ 471560 h 486373"/>
                <a:gd name="connsiteX35" fmla="*/ 793931 w 1106318"/>
                <a:gd name="connsiteY35" fmla="*/ 465212 h 486373"/>
                <a:gd name="connsiteX36" fmla="*/ 826136 w 1106318"/>
                <a:gd name="connsiteY36" fmla="*/ 456747 h 486373"/>
                <a:gd name="connsiteX37" fmla="*/ 858341 w 1106318"/>
                <a:gd name="connsiteY37" fmla="*/ 447225 h 486373"/>
                <a:gd name="connsiteX38" fmla="*/ 890545 w 1106318"/>
                <a:gd name="connsiteY38" fmla="*/ 436644 h 486373"/>
                <a:gd name="connsiteX39" fmla="*/ 922750 w 1106318"/>
                <a:gd name="connsiteY39" fmla="*/ 425006 h 486373"/>
                <a:gd name="connsiteX40" fmla="*/ 954955 w 1106318"/>
                <a:gd name="connsiteY40" fmla="*/ 411251 h 486373"/>
                <a:gd name="connsiteX41" fmla="*/ 986086 w 1106318"/>
                <a:gd name="connsiteY41" fmla="*/ 396438 h 486373"/>
                <a:gd name="connsiteX42" fmla="*/ 1017218 w 1106318"/>
                <a:gd name="connsiteY42" fmla="*/ 380568 h 486373"/>
                <a:gd name="connsiteX43" fmla="*/ 1047276 w 1106318"/>
                <a:gd name="connsiteY43" fmla="*/ 362581 h 486373"/>
                <a:gd name="connsiteX44" fmla="*/ 1077333 w 1106318"/>
                <a:gd name="connsiteY44" fmla="*/ 344594 h 486373"/>
                <a:gd name="connsiteX45" fmla="*/ 1106318 w 1106318"/>
                <a:gd name="connsiteY45" fmla="*/ 324491 h 486373"/>
                <a:gd name="connsiteX46" fmla="*/ 842238 w 1106318"/>
                <a:gd name="connsiteY46" fmla="*/ 304388 h 486373"/>
                <a:gd name="connsiteX47" fmla="*/ 873369 w 1106318"/>
                <a:gd name="connsiteY47" fmla="*/ 177422 h 486373"/>
                <a:gd name="connsiteX48" fmla="*/ 904501 w 1106318"/>
                <a:gd name="connsiteY48" fmla="*/ 50455 h 486373"/>
                <a:gd name="connsiteX49" fmla="*/ 886252 w 1106318"/>
                <a:gd name="connsiteY49" fmla="*/ 62094 h 486373"/>
                <a:gd name="connsiteX50" fmla="*/ 869076 w 1106318"/>
                <a:gd name="connsiteY50" fmla="*/ 73732 h 486373"/>
                <a:gd name="connsiteX51" fmla="*/ 850826 w 1106318"/>
                <a:gd name="connsiteY51" fmla="*/ 84313 h 486373"/>
                <a:gd name="connsiteX52" fmla="*/ 832577 w 1106318"/>
                <a:gd name="connsiteY52" fmla="*/ 93835 h 486373"/>
                <a:gd name="connsiteX53" fmla="*/ 813254 w 1106318"/>
                <a:gd name="connsiteY53" fmla="*/ 102300 h 486373"/>
                <a:gd name="connsiteX54" fmla="*/ 793931 w 1106318"/>
                <a:gd name="connsiteY54" fmla="*/ 110764 h 486373"/>
                <a:gd name="connsiteX55" fmla="*/ 774608 w 1106318"/>
                <a:gd name="connsiteY55" fmla="*/ 118171 h 486373"/>
                <a:gd name="connsiteX56" fmla="*/ 755285 w 1106318"/>
                <a:gd name="connsiteY56" fmla="*/ 124519 h 486373"/>
                <a:gd name="connsiteX57" fmla="*/ 735962 w 1106318"/>
                <a:gd name="connsiteY57" fmla="*/ 129809 h 486373"/>
                <a:gd name="connsiteX58" fmla="*/ 716639 w 1106318"/>
                <a:gd name="connsiteY58" fmla="*/ 135099 h 486373"/>
                <a:gd name="connsiteX59" fmla="*/ 696242 w 1106318"/>
                <a:gd name="connsiteY59" fmla="*/ 138274 h 486373"/>
                <a:gd name="connsiteX60" fmla="*/ 676920 w 1106318"/>
                <a:gd name="connsiteY60" fmla="*/ 142506 h 486373"/>
                <a:gd name="connsiteX61" fmla="*/ 656523 w 1106318"/>
                <a:gd name="connsiteY61" fmla="*/ 144622 h 486373"/>
                <a:gd name="connsiteX62" fmla="*/ 636127 w 1106318"/>
                <a:gd name="connsiteY62" fmla="*/ 145680 h 486373"/>
                <a:gd name="connsiteX63" fmla="*/ 616804 w 1106318"/>
                <a:gd name="connsiteY63" fmla="*/ 146738 h 486373"/>
                <a:gd name="connsiteX64" fmla="*/ 596408 w 1106318"/>
                <a:gd name="connsiteY64" fmla="*/ 147796 h 486373"/>
                <a:gd name="connsiteX65" fmla="*/ 577085 w 1106318"/>
                <a:gd name="connsiteY65" fmla="*/ 146738 h 486373"/>
                <a:gd name="connsiteX66" fmla="*/ 556689 w 1106318"/>
                <a:gd name="connsiteY66" fmla="*/ 145680 h 486373"/>
                <a:gd name="connsiteX67" fmla="*/ 536292 w 1106318"/>
                <a:gd name="connsiteY67" fmla="*/ 143564 h 486373"/>
                <a:gd name="connsiteX68" fmla="*/ 516969 w 1106318"/>
                <a:gd name="connsiteY68" fmla="*/ 140390 h 486373"/>
                <a:gd name="connsiteX69" fmla="*/ 497646 w 1106318"/>
                <a:gd name="connsiteY69" fmla="*/ 137216 h 486373"/>
                <a:gd name="connsiteX70" fmla="*/ 478323 w 1106318"/>
                <a:gd name="connsiteY70" fmla="*/ 132983 h 486373"/>
                <a:gd name="connsiteX71" fmla="*/ 459000 w 1106318"/>
                <a:gd name="connsiteY71" fmla="*/ 127693 h 486373"/>
                <a:gd name="connsiteX72" fmla="*/ 439677 w 1106318"/>
                <a:gd name="connsiteY72" fmla="*/ 121345 h 486373"/>
                <a:gd name="connsiteX73" fmla="*/ 420354 w 1106318"/>
                <a:gd name="connsiteY73" fmla="*/ 114996 h 486373"/>
                <a:gd name="connsiteX74" fmla="*/ 402105 w 1106318"/>
                <a:gd name="connsiteY74" fmla="*/ 107590 h 486373"/>
                <a:gd name="connsiteX75" fmla="*/ 383855 w 1106318"/>
                <a:gd name="connsiteY75" fmla="*/ 100184 h 486373"/>
                <a:gd name="connsiteX76" fmla="*/ 365606 w 1106318"/>
                <a:gd name="connsiteY76" fmla="*/ 90661 h 486373"/>
                <a:gd name="connsiteX77" fmla="*/ 347357 w 1106318"/>
                <a:gd name="connsiteY77" fmla="*/ 81139 h 486373"/>
                <a:gd name="connsiteX78" fmla="*/ 330181 w 1106318"/>
                <a:gd name="connsiteY78" fmla="*/ 71616 h 486373"/>
                <a:gd name="connsiteX79" fmla="*/ 313005 w 1106318"/>
                <a:gd name="connsiteY79" fmla="*/ 59978 h 486373"/>
                <a:gd name="connsiteX80" fmla="*/ 296903 w 1106318"/>
                <a:gd name="connsiteY80" fmla="*/ 48339 h 486373"/>
                <a:gd name="connsiteX81" fmla="*/ 294710 w 1106318"/>
                <a:gd name="connsiteY81" fmla="*/ 48513 h 486373"/>
                <a:gd name="connsiteX82" fmla="*/ 279727 w 1106318"/>
                <a:gd name="connsiteY82" fmla="*/ 36699 h 486373"/>
                <a:gd name="connsiteX83" fmla="*/ 262551 w 1106318"/>
                <a:gd name="connsiteY83" fmla="*/ 22944 h 486373"/>
                <a:gd name="connsiteX84" fmla="*/ 247522 w 1106318"/>
                <a:gd name="connsiteY84" fmla="*/ 9190 h 486373"/>
                <a:gd name="connsiteX85" fmla="*/ 238198 w 1106318"/>
                <a:gd name="connsiteY85" fmla="*/ 0 h 486373"/>
                <a:gd name="connsiteX0" fmla="*/ 238198 w 1106318"/>
                <a:gd name="connsiteY0" fmla="*/ 0 h 486373"/>
                <a:gd name="connsiteX1" fmla="*/ 139619 w 1106318"/>
                <a:gd name="connsiteY1" fmla="*/ 24604 h 486373"/>
                <a:gd name="connsiteX2" fmla="*/ 39751 w 1106318"/>
                <a:gd name="connsiteY2" fmla="*/ 50504 h 486373"/>
                <a:gd name="connsiteX3" fmla="*/ 35836 w 1106318"/>
                <a:gd name="connsiteY3" fmla="*/ 69172 h 486373"/>
                <a:gd name="connsiteX4" fmla="*/ 163790 w 1106318"/>
                <a:gd name="connsiteY4" fmla="*/ 58918 h 486373"/>
                <a:gd name="connsiteX5" fmla="*/ 35835 w 1106318"/>
                <a:gd name="connsiteY5" fmla="*/ 69173 h 486373"/>
                <a:gd name="connsiteX6" fmla="*/ 18054 w 1106318"/>
                <a:gd name="connsiteY6" fmla="*/ 153941 h 486373"/>
                <a:gd name="connsiteX7" fmla="*/ 0 w 1106318"/>
                <a:gd name="connsiteY7" fmla="*/ 244527 h 486373"/>
                <a:gd name="connsiteX8" fmla="*/ 12427 w 1106318"/>
                <a:gd name="connsiteY8" fmla="*/ 256774 h 486373"/>
                <a:gd name="connsiteX9" fmla="*/ 38191 w 1106318"/>
                <a:gd name="connsiteY9" fmla="*/ 278993 h 486373"/>
                <a:gd name="connsiteX10" fmla="*/ 66102 w 1106318"/>
                <a:gd name="connsiteY10" fmla="*/ 301212 h 486373"/>
                <a:gd name="connsiteX11" fmla="*/ 94012 w 1106318"/>
                <a:gd name="connsiteY11" fmla="*/ 322373 h 486373"/>
                <a:gd name="connsiteX12" fmla="*/ 94012 w 1106318"/>
                <a:gd name="connsiteY12" fmla="*/ 322375 h 486373"/>
                <a:gd name="connsiteX13" fmla="*/ 121922 w 1106318"/>
                <a:gd name="connsiteY13" fmla="*/ 342478 h 486373"/>
                <a:gd name="connsiteX14" fmla="*/ 150907 w 1106318"/>
                <a:gd name="connsiteY14" fmla="*/ 360465 h 486373"/>
                <a:gd name="connsiteX15" fmla="*/ 179891 w 1106318"/>
                <a:gd name="connsiteY15" fmla="*/ 377394 h 486373"/>
                <a:gd name="connsiteX16" fmla="*/ 209949 w 1106318"/>
                <a:gd name="connsiteY16" fmla="*/ 392206 h 486373"/>
                <a:gd name="connsiteX17" fmla="*/ 240007 w 1106318"/>
                <a:gd name="connsiteY17" fmla="*/ 407019 h 486373"/>
                <a:gd name="connsiteX18" fmla="*/ 270065 w 1106318"/>
                <a:gd name="connsiteY18" fmla="*/ 420774 h 486373"/>
                <a:gd name="connsiteX19" fmla="*/ 301197 w 1106318"/>
                <a:gd name="connsiteY19" fmla="*/ 432412 h 486373"/>
                <a:gd name="connsiteX20" fmla="*/ 332328 w 1106318"/>
                <a:gd name="connsiteY20" fmla="*/ 442993 h 486373"/>
                <a:gd name="connsiteX21" fmla="*/ 364532 w 1106318"/>
                <a:gd name="connsiteY21" fmla="*/ 453573 h 486373"/>
                <a:gd name="connsiteX22" fmla="*/ 396738 w 1106318"/>
                <a:gd name="connsiteY22" fmla="*/ 462038 h 486373"/>
                <a:gd name="connsiteX23" fmla="*/ 428942 w 1106318"/>
                <a:gd name="connsiteY23" fmla="*/ 468386 h 486373"/>
                <a:gd name="connsiteX24" fmla="*/ 462221 w 1106318"/>
                <a:gd name="connsiteY24" fmla="*/ 474734 h 486373"/>
                <a:gd name="connsiteX25" fmla="*/ 494426 w 1106318"/>
                <a:gd name="connsiteY25" fmla="*/ 478967 h 486373"/>
                <a:gd name="connsiteX26" fmla="*/ 527704 w 1106318"/>
                <a:gd name="connsiteY26" fmla="*/ 483199 h 486373"/>
                <a:gd name="connsiteX27" fmla="*/ 560982 w 1106318"/>
                <a:gd name="connsiteY27" fmla="*/ 485315 h 486373"/>
                <a:gd name="connsiteX28" fmla="*/ 594261 w 1106318"/>
                <a:gd name="connsiteY28" fmla="*/ 486373 h 486373"/>
                <a:gd name="connsiteX29" fmla="*/ 627539 w 1106318"/>
                <a:gd name="connsiteY29" fmla="*/ 485315 h 486373"/>
                <a:gd name="connsiteX30" fmla="*/ 660817 w 1106318"/>
                <a:gd name="connsiteY30" fmla="*/ 484257 h 486373"/>
                <a:gd name="connsiteX31" fmla="*/ 694096 w 1106318"/>
                <a:gd name="connsiteY31" fmla="*/ 481083 h 486373"/>
                <a:gd name="connsiteX32" fmla="*/ 727374 w 1106318"/>
                <a:gd name="connsiteY32" fmla="*/ 476851 h 486373"/>
                <a:gd name="connsiteX33" fmla="*/ 760652 w 1106318"/>
                <a:gd name="connsiteY33" fmla="*/ 471560 h 486373"/>
                <a:gd name="connsiteX34" fmla="*/ 793931 w 1106318"/>
                <a:gd name="connsiteY34" fmla="*/ 465212 h 486373"/>
                <a:gd name="connsiteX35" fmla="*/ 826136 w 1106318"/>
                <a:gd name="connsiteY35" fmla="*/ 456747 h 486373"/>
                <a:gd name="connsiteX36" fmla="*/ 858341 w 1106318"/>
                <a:gd name="connsiteY36" fmla="*/ 447225 h 486373"/>
                <a:gd name="connsiteX37" fmla="*/ 890545 w 1106318"/>
                <a:gd name="connsiteY37" fmla="*/ 436644 h 486373"/>
                <a:gd name="connsiteX38" fmla="*/ 922750 w 1106318"/>
                <a:gd name="connsiteY38" fmla="*/ 425006 h 486373"/>
                <a:gd name="connsiteX39" fmla="*/ 954955 w 1106318"/>
                <a:gd name="connsiteY39" fmla="*/ 411251 h 486373"/>
                <a:gd name="connsiteX40" fmla="*/ 986086 w 1106318"/>
                <a:gd name="connsiteY40" fmla="*/ 396438 h 486373"/>
                <a:gd name="connsiteX41" fmla="*/ 1017218 w 1106318"/>
                <a:gd name="connsiteY41" fmla="*/ 380568 h 486373"/>
                <a:gd name="connsiteX42" fmla="*/ 1047276 w 1106318"/>
                <a:gd name="connsiteY42" fmla="*/ 362581 h 486373"/>
                <a:gd name="connsiteX43" fmla="*/ 1077333 w 1106318"/>
                <a:gd name="connsiteY43" fmla="*/ 344594 h 486373"/>
                <a:gd name="connsiteX44" fmla="*/ 1106318 w 1106318"/>
                <a:gd name="connsiteY44" fmla="*/ 324491 h 486373"/>
                <a:gd name="connsiteX45" fmla="*/ 842238 w 1106318"/>
                <a:gd name="connsiteY45" fmla="*/ 304388 h 486373"/>
                <a:gd name="connsiteX46" fmla="*/ 873369 w 1106318"/>
                <a:gd name="connsiteY46" fmla="*/ 177422 h 486373"/>
                <a:gd name="connsiteX47" fmla="*/ 904501 w 1106318"/>
                <a:gd name="connsiteY47" fmla="*/ 50455 h 486373"/>
                <a:gd name="connsiteX48" fmla="*/ 886252 w 1106318"/>
                <a:gd name="connsiteY48" fmla="*/ 62094 h 486373"/>
                <a:gd name="connsiteX49" fmla="*/ 869076 w 1106318"/>
                <a:gd name="connsiteY49" fmla="*/ 73732 h 486373"/>
                <a:gd name="connsiteX50" fmla="*/ 850826 w 1106318"/>
                <a:gd name="connsiteY50" fmla="*/ 84313 h 486373"/>
                <a:gd name="connsiteX51" fmla="*/ 832577 w 1106318"/>
                <a:gd name="connsiteY51" fmla="*/ 93835 h 486373"/>
                <a:gd name="connsiteX52" fmla="*/ 813254 w 1106318"/>
                <a:gd name="connsiteY52" fmla="*/ 102300 h 486373"/>
                <a:gd name="connsiteX53" fmla="*/ 793931 w 1106318"/>
                <a:gd name="connsiteY53" fmla="*/ 110764 h 486373"/>
                <a:gd name="connsiteX54" fmla="*/ 774608 w 1106318"/>
                <a:gd name="connsiteY54" fmla="*/ 118171 h 486373"/>
                <a:gd name="connsiteX55" fmla="*/ 755285 w 1106318"/>
                <a:gd name="connsiteY55" fmla="*/ 124519 h 486373"/>
                <a:gd name="connsiteX56" fmla="*/ 735962 w 1106318"/>
                <a:gd name="connsiteY56" fmla="*/ 129809 h 486373"/>
                <a:gd name="connsiteX57" fmla="*/ 716639 w 1106318"/>
                <a:gd name="connsiteY57" fmla="*/ 135099 h 486373"/>
                <a:gd name="connsiteX58" fmla="*/ 696242 w 1106318"/>
                <a:gd name="connsiteY58" fmla="*/ 138274 h 486373"/>
                <a:gd name="connsiteX59" fmla="*/ 676920 w 1106318"/>
                <a:gd name="connsiteY59" fmla="*/ 142506 h 486373"/>
                <a:gd name="connsiteX60" fmla="*/ 656523 w 1106318"/>
                <a:gd name="connsiteY60" fmla="*/ 144622 h 486373"/>
                <a:gd name="connsiteX61" fmla="*/ 636127 w 1106318"/>
                <a:gd name="connsiteY61" fmla="*/ 145680 h 486373"/>
                <a:gd name="connsiteX62" fmla="*/ 616804 w 1106318"/>
                <a:gd name="connsiteY62" fmla="*/ 146738 h 486373"/>
                <a:gd name="connsiteX63" fmla="*/ 596408 w 1106318"/>
                <a:gd name="connsiteY63" fmla="*/ 147796 h 486373"/>
                <a:gd name="connsiteX64" fmla="*/ 577085 w 1106318"/>
                <a:gd name="connsiteY64" fmla="*/ 146738 h 486373"/>
                <a:gd name="connsiteX65" fmla="*/ 556689 w 1106318"/>
                <a:gd name="connsiteY65" fmla="*/ 145680 h 486373"/>
                <a:gd name="connsiteX66" fmla="*/ 536292 w 1106318"/>
                <a:gd name="connsiteY66" fmla="*/ 143564 h 486373"/>
                <a:gd name="connsiteX67" fmla="*/ 516969 w 1106318"/>
                <a:gd name="connsiteY67" fmla="*/ 140390 h 486373"/>
                <a:gd name="connsiteX68" fmla="*/ 497646 w 1106318"/>
                <a:gd name="connsiteY68" fmla="*/ 137216 h 486373"/>
                <a:gd name="connsiteX69" fmla="*/ 478323 w 1106318"/>
                <a:gd name="connsiteY69" fmla="*/ 132983 h 486373"/>
                <a:gd name="connsiteX70" fmla="*/ 459000 w 1106318"/>
                <a:gd name="connsiteY70" fmla="*/ 127693 h 486373"/>
                <a:gd name="connsiteX71" fmla="*/ 439677 w 1106318"/>
                <a:gd name="connsiteY71" fmla="*/ 121345 h 486373"/>
                <a:gd name="connsiteX72" fmla="*/ 420354 w 1106318"/>
                <a:gd name="connsiteY72" fmla="*/ 114996 h 486373"/>
                <a:gd name="connsiteX73" fmla="*/ 402105 w 1106318"/>
                <a:gd name="connsiteY73" fmla="*/ 107590 h 486373"/>
                <a:gd name="connsiteX74" fmla="*/ 383855 w 1106318"/>
                <a:gd name="connsiteY74" fmla="*/ 100184 h 486373"/>
                <a:gd name="connsiteX75" fmla="*/ 365606 w 1106318"/>
                <a:gd name="connsiteY75" fmla="*/ 90661 h 486373"/>
                <a:gd name="connsiteX76" fmla="*/ 347357 w 1106318"/>
                <a:gd name="connsiteY76" fmla="*/ 81139 h 486373"/>
                <a:gd name="connsiteX77" fmla="*/ 330181 w 1106318"/>
                <a:gd name="connsiteY77" fmla="*/ 71616 h 486373"/>
                <a:gd name="connsiteX78" fmla="*/ 313005 w 1106318"/>
                <a:gd name="connsiteY78" fmla="*/ 59978 h 486373"/>
                <a:gd name="connsiteX79" fmla="*/ 296903 w 1106318"/>
                <a:gd name="connsiteY79" fmla="*/ 48339 h 486373"/>
                <a:gd name="connsiteX80" fmla="*/ 294710 w 1106318"/>
                <a:gd name="connsiteY80" fmla="*/ 48513 h 486373"/>
                <a:gd name="connsiteX81" fmla="*/ 279727 w 1106318"/>
                <a:gd name="connsiteY81" fmla="*/ 36699 h 486373"/>
                <a:gd name="connsiteX82" fmla="*/ 262551 w 1106318"/>
                <a:gd name="connsiteY82" fmla="*/ 22944 h 486373"/>
                <a:gd name="connsiteX83" fmla="*/ 247522 w 1106318"/>
                <a:gd name="connsiteY83" fmla="*/ 9190 h 486373"/>
                <a:gd name="connsiteX84" fmla="*/ 238198 w 1106318"/>
                <a:gd name="connsiteY84" fmla="*/ 0 h 486373"/>
                <a:gd name="connsiteX0" fmla="*/ 238198 w 1106318"/>
                <a:gd name="connsiteY0" fmla="*/ 0 h 486373"/>
                <a:gd name="connsiteX1" fmla="*/ 139619 w 1106318"/>
                <a:gd name="connsiteY1" fmla="*/ 24604 h 486373"/>
                <a:gd name="connsiteX2" fmla="*/ 39751 w 1106318"/>
                <a:gd name="connsiteY2" fmla="*/ 50504 h 486373"/>
                <a:gd name="connsiteX3" fmla="*/ 35836 w 1106318"/>
                <a:gd name="connsiteY3" fmla="*/ 69172 h 486373"/>
                <a:gd name="connsiteX4" fmla="*/ 35835 w 1106318"/>
                <a:gd name="connsiteY4" fmla="*/ 69173 h 486373"/>
                <a:gd name="connsiteX5" fmla="*/ 18054 w 1106318"/>
                <a:gd name="connsiteY5" fmla="*/ 153941 h 486373"/>
                <a:gd name="connsiteX6" fmla="*/ 0 w 1106318"/>
                <a:gd name="connsiteY6" fmla="*/ 244527 h 486373"/>
                <a:gd name="connsiteX7" fmla="*/ 12427 w 1106318"/>
                <a:gd name="connsiteY7" fmla="*/ 256774 h 486373"/>
                <a:gd name="connsiteX8" fmla="*/ 38191 w 1106318"/>
                <a:gd name="connsiteY8" fmla="*/ 278993 h 486373"/>
                <a:gd name="connsiteX9" fmla="*/ 66102 w 1106318"/>
                <a:gd name="connsiteY9" fmla="*/ 301212 h 486373"/>
                <a:gd name="connsiteX10" fmla="*/ 94012 w 1106318"/>
                <a:gd name="connsiteY10" fmla="*/ 322373 h 486373"/>
                <a:gd name="connsiteX11" fmla="*/ 94012 w 1106318"/>
                <a:gd name="connsiteY11" fmla="*/ 322375 h 486373"/>
                <a:gd name="connsiteX12" fmla="*/ 121922 w 1106318"/>
                <a:gd name="connsiteY12" fmla="*/ 342478 h 486373"/>
                <a:gd name="connsiteX13" fmla="*/ 150907 w 1106318"/>
                <a:gd name="connsiteY13" fmla="*/ 360465 h 486373"/>
                <a:gd name="connsiteX14" fmla="*/ 179891 w 1106318"/>
                <a:gd name="connsiteY14" fmla="*/ 377394 h 486373"/>
                <a:gd name="connsiteX15" fmla="*/ 209949 w 1106318"/>
                <a:gd name="connsiteY15" fmla="*/ 392206 h 486373"/>
                <a:gd name="connsiteX16" fmla="*/ 240007 w 1106318"/>
                <a:gd name="connsiteY16" fmla="*/ 407019 h 486373"/>
                <a:gd name="connsiteX17" fmla="*/ 270065 w 1106318"/>
                <a:gd name="connsiteY17" fmla="*/ 420774 h 486373"/>
                <a:gd name="connsiteX18" fmla="*/ 301197 w 1106318"/>
                <a:gd name="connsiteY18" fmla="*/ 432412 h 486373"/>
                <a:gd name="connsiteX19" fmla="*/ 332328 w 1106318"/>
                <a:gd name="connsiteY19" fmla="*/ 442993 h 486373"/>
                <a:gd name="connsiteX20" fmla="*/ 364532 w 1106318"/>
                <a:gd name="connsiteY20" fmla="*/ 453573 h 486373"/>
                <a:gd name="connsiteX21" fmla="*/ 396738 w 1106318"/>
                <a:gd name="connsiteY21" fmla="*/ 462038 h 486373"/>
                <a:gd name="connsiteX22" fmla="*/ 428942 w 1106318"/>
                <a:gd name="connsiteY22" fmla="*/ 468386 h 486373"/>
                <a:gd name="connsiteX23" fmla="*/ 462221 w 1106318"/>
                <a:gd name="connsiteY23" fmla="*/ 474734 h 486373"/>
                <a:gd name="connsiteX24" fmla="*/ 494426 w 1106318"/>
                <a:gd name="connsiteY24" fmla="*/ 478967 h 486373"/>
                <a:gd name="connsiteX25" fmla="*/ 527704 w 1106318"/>
                <a:gd name="connsiteY25" fmla="*/ 483199 h 486373"/>
                <a:gd name="connsiteX26" fmla="*/ 560982 w 1106318"/>
                <a:gd name="connsiteY26" fmla="*/ 485315 h 486373"/>
                <a:gd name="connsiteX27" fmla="*/ 594261 w 1106318"/>
                <a:gd name="connsiteY27" fmla="*/ 486373 h 486373"/>
                <a:gd name="connsiteX28" fmla="*/ 627539 w 1106318"/>
                <a:gd name="connsiteY28" fmla="*/ 485315 h 486373"/>
                <a:gd name="connsiteX29" fmla="*/ 660817 w 1106318"/>
                <a:gd name="connsiteY29" fmla="*/ 484257 h 486373"/>
                <a:gd name="connsiteX30" fmla="*/ 694096 w 1106318"/>
                <a:gd name="connsiteY30" fmla="*/ 481083 h 486373"/>
                <a:gd name="connsiteX31" fmla="*/ 727374 w 1106318"/>
                <a:gd name="connsiteY31" fmla="*/ 476851 h 486373"/>
                <a:gd name="connsiteX32" fmla="*/ 760652 w 1106318"/>
                <a:gd name="connsiteY32" fmla="*/ 471560 h 486373"/>
                <a:gd name="connsiteX33" fmla="*/ 793931 w 1106318"/>
                <a:gd name="connsiteY33" fmla="*/ 465212 h 486373"/>
                <a:gd name="connsiteX34" fmla="*/ 826136 w 1106318"/>
                <a:gd name="connsiteY34" fmla="*/ 456747 h 486373"/>
                <a:gd name="connsiteX35" fmla="*/ 858341 w 1106318"/>
                <a:gd name="connsiteY35" fmla="*/ 447225 h 486373"/>
                <a:gd name="connsiteX36" fmla="*/ 890545 w 1106318"/>
                <a:gd name="connsiteY36" fmla="*/ 436644 h 486373"/>
                <a:gd name="connsiteX37" fmla="*/ 922750 w 1106318"/>
                <a:gd name="connsiteY37" fmla="*/ 425006 h 486373"/>
                <a:gd name="connsiteX38" fmla="*/ 954955 w 1106318"/>
                <a:gd name="connsiteY38" fmla="*/ 411251 h 486373"/>
                <a:gd name="connsiteX39" fmla="*/ 986086 w 1106318"/>
                <a:gd name="connsiteY39" fmla="*/ 396438 h 486373"/>
                <a:gd name="connsiteX40" fmla="*/ 1017218 w 1106318"/>
                <a:gd name="connsiteY40" fmla="*/ 380568 h 486373"/>
                <a:gd name="connsiteX41" fmla="*/ 1047276 w 1106318"/>
                <a:gd name="connsiteY41" fmla="*/ 362581 h 486373"/>
                <a:gd name="connsiteX42" fmla="*/ 1077333 w 1106318"/>
                <a:gd name="connsiteY42" fmla="*/ 344594 h 486373"/>
                <a:gd name="connsiteX43" fmla="*/ 1106318 w 1106318"/>
                <a:gd name="connsiteY43" fmla="*/ 324491 h 486373"/>
                <a:gd name="connsiteX44" fmla="*/ 842238 w 1106318"/>
                <a:gd name="connsiteY44" fmla="*/ 304388 h 486373"/>
                <a:gd name="connsiteX45" fmla="*/ 873369 w 1106318"/>
                <a:gd name="connsiteY45" fmla="*/ 177422 h 486373"/>
                <a:gd name="connsiteX46" fmla="*/ 904501 w 1106318"/>
                <a:gd name="connsiteY46" fmla="*/ 50455 h 486373"/>
                <a:gd name="connsiteX47" fmla="*/ 886252 w 1106318"/>
                <a:gd name="connsiteY47" fmla="*/ 62094 h 486373"/>
                <a:gd name="connsiteX48" fmla="*/ 869076 w 1106318"/>
                <a:gd name="connsiteY48" fmla="*/ 73732 h 486373"/>
                <a:gd name="connsiteX49" fmla="*/ 850826 w 1106318"/>
                <a:gd name="connsiteY49" fmla="*/ 84313 h 486373"/>
                <a:gd name="connsiteX50" fmla="*/ 832577 w 1106318"/>
                <a:gd name="connsiteY50" fmla="*/ 93835 h 486373"/>
                <a:gd name="connsiteX51" fmla="*/ 813254 w 1106318"/>
                <a:gd name="connsiteY51" fmla="*/ 102300 h 486373"/>
                <a:gd name="connsiteX52" fmla="*/ 793931 w 1106318"/>
                <a:gd name="connsiteY52" fmla="*/ 110764 h 486373"/>
                <a:gd name="connsiteX53" fmla="*/ 774608 w 1106318"/>
                <a:gd name="connsiteY53" fmla="*/ 118171 h 486373"/>
                <a:gd name="connsiteX54" fmla="*/ 755285 w 1106318"/>
                <a:gd name="connsiteY54" fmla="*/ 124519 h 486373"/>
                <a:gd name="connsiteX55" fmla="*/ 735962 w 1106318"/>
                <a:gd name="connsiteY55" fmla="*/ 129809 h 486373"/>
                <a:gd name="connsiteX56" fmla="*/ 716639 w 1106318"/>
                <a:gd name="connsiteY56" fmla="*/ 135099 h 486373"/>
                <a:gd name="connsiteX57" fmla="*/ 696242 w 1106318"/>
                <a:gd name="connsiteY57" fmla="*/ 138274 h 486373"/>
                <a:gd name="connsiteX58" fmla="*/ 676920 w 1106318"/>
                <a:gd name="connsiteY58" fmla="*/ 142506 h 486373"/>
                <a:gd name="connsiteX59" fmla="*/ 656523 w 1106318"/>
                <a:gd name="connsiteY59" fmla="*/ 144622 h 486373"/>
                <a:gd name="connsiteX60" fmla="*/ 636127 w 1106318"/>
                <a:gd name="connsiteY60" fmla="*/ 145680 h 486373"/>
                <a:gd name="connsiteX61" fmla="*/ 616804 w 1106318"/>
                <a:gd name="connsiteY61" fmla="*/ 146738 h 486373"/>
                <a:gd name="connsiteX62" fmla="*/ 596408 w 1106318"/>
                <a:gd name="connsiteY62" fmla="*/ 147796 h 486373"/>
                <a:gd name="connsiteX63" fmla="*/ 577085 w 1106318"/>
                <a:gd name="connsiteY63" fmla="*/ 146738 h 486373"/>
                <a:gd name="connsiteX64" fmla="*/ 556689 w 1106318"/>
                <a:gd name="connsiteY64" fmla="*/ 145680 h 486373"/>
                <a:gd name="connsiteX65" fmla="*/ 536292 w 1106318"/>
                <a:gd name="connsiteY65" fmla="*/ 143564 h 486373"/>
                <a:gd name="connsiteX66" fmla="*/ 516969 w 1106318"/>
                <a:gd name="connsiteY66" fmla="*/ 140390 h 486373"/>
                <a:gd name="connsiteX67" fmla="*/ 497646 w 1106318"/>
                <a:gd name="connsiteY67" fmla="*/ 137216 h 486373"/>
                <a:gd name="connsiteX68" fmla="*/ 478323 w 1106318"/>
                <a:gd name="connsiteY68" fmla="*/ 132983 h 486373"/>
                <a:gd name="connsiteX69" fmla="*/ 459000 w 1106318"/>
                <a:gd name="connsiteY69" fmla="*/ 127693 h 486373"/>
                <a:gd name="connsiteX70" fmla="*/ 439677 w 1106318"/>
                <a:gd name="connsiteY70" fmla="*/ 121345 h 486373"/>
                <a:gd name="connsiteX71" fmla="*/ 420354 w 1106318"/>
                <a:gd name="connsiteY71" fmla="*/ 114996 h 486373"/>
                <a:gd name="connsiteX72" fmla="*/ 402105 w 1106318"/>
                <a:gd name="connsiteY72" fmla="*/ 107590 h 486373"/>
                <a:gd name="connsiteX73" fmla="*/ 383855 w 1106318"/>
                <a:gd name="connsiteY73" fmla="*/ 100184 h 486373"/>
                <a:gd name="connsiteX74" fmla="*/ 365606 w 1106318"/>
                <a:gd name="connsiteY74" fmla="*/ 90661 h 486373"/>
                <a:gd name="connsiteX75" fmla="*/ 347357 w 1106318"/>
                <a:gd name="connsiteY75" fmla="*/ 81139 h 486373"/>
                <a:gd name="connsiteX76" fmla="*/ 330181 w 1106318"/>
                <a:gd name="connsiteY76" fmla="*/ 71616 h 486373"/>
                <a:gd name="connsiteX77" fmla="*/ 313005 w 1106318"/>
                <a:gd name="connsiteY77" fmla="*/ 59978 h 486373"/>
                <a:gd name="connsiteX78" fmla="*/ 296903 w 1106318"/>
                <a:gd name="connsiteY78" fmla="*/ 48339 h 486373"/>
                <a:gd name="connsiteX79" fmla="*/ 294710 w 1106318"/>
                <a:gd name="connsiteY79" fmla="*/ 48513 h 486373"/>
                <a:gd name="connsiteX80" fmla="*/ 279727 w 1106318"/>
                <a:gd name="connsiteY80" fmla="*/ 36699 h 486373"/>
                <a:gd name="connsiteX81" fmla="*/ 262551 w 1106318"/>
                <a:gd name="connsiteY81" fmla="*/ 22944 h 486373"/>
                <a:gd name="connsiteX82" fmla="*/ 247522 w 1106318"/>
                <a:gd name="connsiteY82" fmla="*/ 9190 h 486373"/>
                <a:gd name="connsiteX83" fmla="*/ 238198 w 1106318"/>
                <a:gd name="connsiteY83" fmla="*/ 0 h 486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106318" h="486373">
                  <a:moveTo>
                    <a:pt x="238198" y="0"/>
                  </a:moveTo>
                  <a:lnTo>
                    <a:pt x="139619" y="24604"/>
                  </a:lnTo>
                  <a:lnTo>
                    <a:pt x="39751" y="50504"/>
                  </a:lnTo>
                  <a:lnTo>
                    <a:pt x="35836" y="69172"/>
                  </a:lnTo>
                  <a:lnTo>
                    <a:pt x="35835" y="69173"/>
                  </a:lnTo>
                  <a:lnTo>
                    <a:pt x="18054" y="153941"/>
                  </a:lnTo>
                  <a:lnTo>
                    <a:pt x="0" y="244527"/>
                  </a:lnTo>
                  <a:lnTo>
                    <a:pt x="12427" y="256774"/>
                  </a:lnTo>
                  <a:lnTo>
                    <a:pt x="38191" y="278993"/>
                  </a:lnTo>
                  <a:lnTo>
                    <a:pt x="66102" y="301212"/>
                  </a:lnTo>
                  <a:lnTo>
                    <a:pt x="94012" y="322373"/>
                  </a:lnTo>
                  <a:lnTo>
                    <a:pt x="94012" y="322375"/>
                  </a:lnTo>
                  <a:lnTo>
                    <a:pt x="121922" y="342478"/>
                  </a:lnTo>
                  <a:lnTo>
                    <a:pt x="150907" y="360465"/>
                  </a:lnTo>
                  <a:lnTo>
                    <a:pt x="179891" y="377394"/>
                  </a:lnTo>
                  <a:lnTo>
                    <a:pt x="209949" y="392206"/>
                  </a:lnTo>
                  <a:lnTo>
                    <a:pt x="240007" y="407019"/>
                  </a:lnTo>
                  <a:lnTo>
                    <a:pt x="270065" y="420774"/>
                  </a:lnTo>
                  <a:lnTo>
                    <a:pt x="301197" y="432412"/>
                  </a:lnTo>
                  <a:lnTo>
                    <a:pt x="332328" y="442993"/>
                  </a:lnTo>
                  <a:lnTo>
                    <a:pt x="364532" y="453573"/>
                  </a:lnTo>
                  <a:lnTo>
                    <a:pt x="396738" y="462038"/>
                  </a:lnTo>
                  <a:lnTo>
                    <a:pt x="428942" y="468386"/>
                  </a:lnTo>
                  <a:lnTo>
                    <a:pt x="462221" y="474734"/>
                  </a:lnTo>
                  <a:lnTo>
                    <a:pt x="494426" y="478967"/>
                  </a:lnTo>
                  <a:lnTo>
                    <a:pt x="527704" y="483199"/>
                  </a:lnTo>
                  <a:lnTo>
                    <a:pt x="560982" y="485315"/>
                  </a:lnTo>
                  <a:lnTo>
                    <a:pt x="594261" y="486373"/>
                  </a:lnTo>
                  <a:lnTo>
                    <a:pt x="627539" y="485315"/>
                  </a:lnTo>
                  <a:lnTo>
                    <a:pt x="660817" y="484257"/>
                  </a:lnTo>
                  <a:lnTo>
                    <a:pt x="694096" y="481083"/>
                  </a:lnTo>
                  <a:lnTo>
                    <a:pt x="727374" y="476851"/>
                  </a:lnTo>
                  <a:lnTo>
                    <a:pt x="760652" y="471560"/>
                  </a:lnTo>
                  <a:lnTo>
                    <a:pt x="793931" y="465212"/>
                  </a:lnTo>
                  <a:lnTo>
                    <a:pt x="826136" y="456747"/>
                  </a:lnTo>
                  <a:lnTo>
                    <a:pt x="858341" y="447225"/>
                  </a:lnTo>
                  <a:lnTo>
                    <a:pt x="890545" y="436644"/>
                  </a:lnTo>
                  <a:lnTo>
                    <a:pt x="922750" y="425006"/>
                  </a:lnTo>
                  <a:lnTo>
                    <a:pt x="954955" y="411251"/>
                  </a:lnTo>
                  <a:lnTo>
                    <a:pt x="986086" y="396438"/>
                  </a:lnTo>
                  <a:lnTo>
                    <a:pt x="1017218" y="380568"/>
                  </a:lnTo>
                  <a:lnTo>
                    <a:pt x="1047276" y="362581"/>
                  </a:lnTo>
                  <a:lnTo>
                    <a:pt x="1077333" y="344594"/>
                  </a:lnTo>
                  <a:lnTo>
                    <a:pt x="1106318" y="324491"/>
                  </a:lnTo>
                  <a:lnTo>
                    <a:pt x="842238" y="304388"/>
                  </a:lnTo>
                  <a:lnTo>
                    <a:pt x="873369" y="177422"/>
                  </a:lnTo>
                  <a:lnTo>
                    <a:pt x="904501" y="50455"/>
                  </a:lnTo>
                  <a:lnTo>
                    <a:pt x="886252" y="62094"/>
                  </a:lnTo>
                  <a:lnTo>
                    <a:pt x="869076" y="73732"/>
                  </a:lnTo>
                  <a:lnTo>
                    <a:pt x="850826" y="84313"/>
                  </a:lnTo>
                  <a:lnTo>
                    <a:pt x="832577" y="93835"/>
                  </a:lnTo>
                  <a:lnTo>
                    <a:pt x="813254" y="102300"/>
                  </a:lnTo>
                  <a:lnTo>
                    <a:pt x="793931" y="110764"/>
                  </a:lnTo>
                  <a:lnTo>
                    <a:pt x="774608" y="118171"/>
                  </a:lnTo>
                  <a:lnTo>
                    <a:pt x="755285" y="124519"/>
                  </a:lnTo>
                  <a:lnTo>
                    <a:pt x="735962" y="129809"/>
                  </a:lnTo>
                  <a:lnTo>
                    <a:pt x="716639" y="135099"/>
                  </a:lnTo>
                  <a:lnTo>
                    <a:pt x="696242" y="138274"/>
                  </a:lnTo>
                  <a:lnTo>
                    <a:pt x="676920" y="142506"/>
                  </a:lnTo>
                  <a:lnTo>
                    <a:pt x="656523" y="144622"/>
                  </a:lnTo>
                  <a:lnTo>
                    <a:pt x="636127" y="145680"/>
                  </a:lnTo>
                  <a:lnTo>
                    <a:pt x="616804" y="146738"/>
                  </a:lnTo>
                  <a:lnTo>
                    <a:pt x="596408" y="147796"/>
                  </a:lnTo>
                  <a:lnTo>
                    <a:pt x="577085" y="146738"/>
                  </a:lnTo>
                  <a:lnTo>
                    <a:pt x="556689" y="145680"/>
                  </a:lnTo>
                  <a:lnTo>
                    <a:pt x="536292" y="143564"/>
                  </a:lnTo>
                  <a:lnTo>
                    <a:pt x="516969" y="140390"/>
                  </a:lnTo>
                  <a:lnTo>
                    <a:pt x="497646" y="137216"/>
                  </a:lnTo>
                  <a:lnTo>
                    <a:pt x="478323" y="132983"/>
                  </a:lnTo>
                  <a:lnTo>
                    <a:pt x="459000" y="127693"/>
                  </a:lnTo>
                  <a:lnTo>
                    <a:pt x="439677" y="121345"/>
                  </a:lnTo>
                  <a:lnTo>
                    <a:pt x="420354" y="114996"/>
                  </a:lnTo>
                  <a:lnTo>
                    <a:pt x="402105" y="107590"/>
                  </a:lnTo>
                  <a:lnTo>
                    <a:pt x="383855" y="100184"/>
                  </a:lnTo>
                  <a:lnTo>
                    <a:pt x="365606" y="90661"/>
                  </a:lnTo>
                  <a:lnTo>
                    <a:pt x="347357" y="81139"/>
                  </a:lnTo>
                  <a:lnTo>
                    <a:pt x="330181" y="71616"/>
                  </a:lnTo>
                  <a:lnTo>
                    <a:pt x="313005" y="59978"/>
                  </a:lnTo>
                  <a:lnTo>
                    <a:pt x="296903" y="48339"/>
                  </a:lnTo>
                  <a:lnTo>
                    <a:pt x="294710" y="48513"/>
                  </a:lnTo>
                  <a:lnTo>
                    <a:pt x="279727" y="36699"/>
                  </a:lnTo>
                  <a:lnTo>
                    <a:pt x="262551" y="22944"/>
                  </a:lnTo>
                  <a:lnTo>
                    <a:pt x="247522" y="9190"/>
                  </a:lnTo>
                  <a:lnTo>
                    <a:pt x="238198" y="0"/>
                  </a:lnTo>
                  <a:close/>
                </a:path>
              </a:pathLst>
            </a:custGeom>
            <a:grpFill/>
            <a:ln w="6350" cmpd="sng">
              <a:solidFill>
                <a:schemeClr val="tx2">
                  <a:alpha val="60000"/>
                </a:schemeClr>
              </a:solidFill>
              <a:prstDash val="solid"/>
              <a:round/>
              <a:headEnd/>
              <a:tailEnd/>
            </a:ln>
          </p:spPr>
          <p:txBody>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124191"/>
                </a:solidFill>
                <a:effectLst/>
                <a:uLnTx/>
                <a:uFillTx/>
                <a:latin typeface="Nokia Pure Headline Light"/>
                <a:ea typeface="+mn-ea"/>
                <a:cs typeface="+mn-cs"/>
              </a:endParaRPr>
            </a:p>
          </p:txBody>
        </p:sp>
      </p:grpSp>
      <p:grpSp>
        <p:nvGrpSpPr>
          <p:cNvPr id="294" name="Gruppieren 206"/>
          <p:cNvGrpSpPr/>
          <p:nvPr/>
        </p:nvGrpSpPr>
        <p:grpSpPr>
          <a:xfrm>
            <a:off x="7956376" y="2983149"/>
            <a:ext cx="634092" cy="100672"/>
            <a:chOff x="7814240" y="2744330"/>
            <a:chExt cx="776228" cy="123238"/>
          </a:xfrm>
          <a:solidFill>
            <a:schemeClr val="accent3"/>
          </a:solidFill>
        </p:grpSpPr>
        <p:sp>
          <p:nvSpPr>
            <p:cNvPr id="295" name="Freihandform: Form 207"/>
            <p:cNvSpPr/>
            <p:nvPr/>
          </p:nvSpPr>
          <p:spPr>
            <a:xfrm>
              <a:off x="7814240" y="2747701"/>
              <a:ext cx="177446" cy="117619"/>
            </a:xfrm>
            <a:custGeom>
              <a:avLst/>
              <a:gdLst>
                <a:gd name="connsiteX0" fmla="*/ 81372 w 177446"/>
                <a:gd name="connsiteY0" fmla="*/ 0 h 117619"/>
                <a:gd name="connsiteX1" fmla="*/ 162744 w 177446"/>
                <a:gd name="connsiteY1" fmla="*/ 81372 h 117619"/>
                <a:gd name="connsiteX2" fmla="*/ 162743 w 177446"/>
                <a:gd name="connsiteY2" fmla="*/ 88214 h 117619"/>
                <a:gd name="connsiteX3" fmla="*/ 177446 w 177446"/>
                <a:gd name="connsiteY3" fmla="*/ 88214 h 117619"/>
                <a:gd name="connsiteX4" fmla="*/ 148041 w 177446"/>
                <a:gd name="connsiteY4" fmla="*/ 117619 h 117619"/>
                <a:gd name="connsiteX5" fmla="*/ 118637 w 177446"/>
                <a:gd name="connsiteY5" fmla="*/ 88214 h 117619"/>
                <a:gd name="connsiteX6" fmla="*/ 133339 w 177446"/>
                <a:gd name="connsiteY6" fmla="*/ 88214 h 117619"/>
                <a:gd name="connsiteX7" fmla="*/ 133339 w 177446"/>
                <a:gd name="connsiteY7" fmla="*/ 81372 h 117619"/>
                <a:gd name="connsiteX8" fmla="*/ 101599 w 177446"/>
                <a:gd name="connsiteY8" fmla="*/ 33488 h 117619"/>
                <a:gd name="connsiteX9" fmla="*/ 81372 w 177446"/>
                <a:gd name="connsiteY9" fmla="*/ 29404 h 117619"/>
                <a:gd name="connsiteX10" fmla="*/ 81372 w 177446"/>
                <a:gd name="connsiteY10" fmla="*/ 29404 h 117619"/>
                <a:gd name="connsiteX11" fmla="*/ 81371 w 177446"/>
                <a:gd name="connsiteY11" fmla="*/ 29404 h 117619"/>
                <a:gd name="connsiteX12" fmla="*/ 81372 w 177446"/>
                <a:gd name="connsiteY12" fmla="*/ 29404 h 117619"/>
                <a:gd name="connsiteX13" fmla="*/ 61144 w 177446"/>
                <a:gd name="connsiteY13" fmla="*/ 33488 h 117619"/>
                <a:gd name="connsiteX14" fmla="*/ 29404 w 177446"/>
                <a:gd name="connsiteY14" fmla="*/ 81372 h 117619"/>
                <a:gd name="connsiteX15" fmla="*/ 29404 w 177446"/>
                <a:gd name="connsiteY15" fmla="*/ 93422 h 117619"/>
                <a:gd name="connsiteX16" fmla="*/ 0 w 177446"/>
                <a:gd name="connsiteY16" fmla="*/ 84961 h 117619"/>
                <a:gd name="connsiteX17" fmla="*/ 0 w 177446"/>
                <a:gd name="connsiteY17" fmla="*/ 81372 h 117619"/>
                <a:gd name="connsiteX18" fmla="*/ 81372 w 177446"/>
                <a:gd name="connsiteY18" fmla="*/ 0 h 117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7446" h="117619">
                  <a:moveTo>
                    <a:pt x="81372" y="0"/>
                  </a:moveTo>
                  <a:cubicBezTo>
                    <a:pt x="126313" y="0"/>
                    <a:pt x="162744" y="36431"/>
                    <a:pt x="162744" y="81372"/>
                  </a:cubicBezTo>
                  <a:cubicBezTo>
                    <a:pt x="162744" y="83653"/>
                    <a:pt x="162743" y="85933"/>
                    <a:pt x="162743" y="88214"/>
                  </a:cubicBezTo>
                  <a:lnTo>
                    <a:pt x="177446" y="88214"/>
                  </a:lnTo>
                  <a:lnTo>
                    <a:pt x="148041" y="117619"/>
                  </a:lnTo>
                  <a:lnTo>
                    <a:pt x="118637" y="88214"/>
                  </a:lnTo>
                  <a:lnTo>
                    <a:pt x="133339" y="88214"/>
                  </a:lnTo>
                  <a:lnTo>
                    <a:pt x="133339" y="81372"/>
                  </a:lnTo>
                  <a:cubicBezTo>
                    <a:pt x="133339" y="59846"/>
                    <a:pt x="120252" y="41377"/>
                    <a:pt x="101599" y="33488"/>
                  </a:cubicBezTo>
                  <a:lnTo>
                    <a:pt x="81372" y="29404"/>
                  </a:lnTo>
                  <a:lnTo>
                    <a:pt x="81372" y="29404"/>
                  </a:lnTo>
                  <a:lnTo>
                    <a:pt x="81371" y="29404"/>
                  </a:lnTo>
                  <a:lnTo>
                    <a:pt x="81372" y="29404"/>
                  </a:lnTo>
                  <a:lnTo>
                    <a:pt x="61144" y="33488"/>
                  </a:lnTo>
                  <a:cubicBezTo>
                    <a:pt x="42492" y="41377"/>
                    <a:pt x="29404" y="59846"/>
                    <a:pt x="29404" y="81372"/>
                  </a:cubicBezTo>
                  <a:lnTo>
                    <a:pt x="29404" y="93422"/>
                  </a:lnTo>
                  <a:lnTo>
                    <a:pt x="0" y="84961"/>
                  </a:lnTo>
                  <a:lnTo>
                    <a:pt x="0" y="81372"/>
                  </a:lnTo>
                  <a:cubicBezTo>
                    <a:pt x="0" y="36431"/>
                    <a:pt x="36431" y="0"/>
                    <a:pt x="81372" y="0"/>
                  </a:cubicBezTo>
                  <a:close/>
                </a:path>
              </a:pathLst>
            </a:custGeom>
            <a:grpFill/>
            <a:ln w="635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6209" marR="0" lvl="0" indent="-176209" algn="l" defTabSz="914378"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Nokia Pure Headline Light"/>
                <a:ea typeface=""/>
                <a:cs typeface=""/>
              </a:endParaRPr>
            </a:p>
          </p:txBody>
        </p:sp>
        <p:sp>
          <p:nvSpPr>
            <p:cNvPr id="296" name="Freihandform: Form 208"/>
            <p:cNvSpPr/>
            <p:nvPr/>
          </p:nvSpPr>
          <p:spPr>
            <a:xfrm>
              <a:off x="8015285" y="2749949"/>
              <a:ext cx="177446" cy="117619"/>
            </a:xfrm>
            <a:custGeom>
              <a:avLst/>
              <a:gdLst>
                <a:gd name="connsiteX0" fmla="*/ 81372 w 177446"/>
                <a:gd name="connsiteY0" fmla="*/ 0 h 117619"/>
                <a:gd name="connsiteX1" fmla="*/ 162744 w 177446"/>
                <a:gd name="connsiteY1" fmla="*/ 81372 h 117619"/>
                <a:gd name="connsiteX2" fmla="*/ 162743 w 177446"/>
                <a:gd name="connsiteY2" fmla="*/ 88214 h 117619"/>
                <a:gd name="connsiteX3" fmla="*/ 177446 w 177446"/>
                <a:gd name="connsiteY3" fmla="*/ 88214 h 117619"/>
                <a:gd name="connsiteX4" fmla="*/ 148041 w 177446"/>
                <a:gd name="connsiteY4" fmla="*/ 117619 h 117619"/>
                <a:gd name="connsiteX5" fmla="*/ 118637 w 177446"/>
                <a:gd name="connsiteY5" fmla="*/ 88214 h 117619"/>
                <a:gd name="connsiteX6" fmla="*/ 133339 w 177446"/>
                <a:gd name="connsiteY6" fmla="*/ 88214 h 117619"/>
                <a:gd name="connsiteX7" fmla="*/ 133339 w 177446"/>
                <a:gd name="connsiteY7" fmla="*/ 81372 h 117619"/>
                <a:gd name="connsiteX8" fmla="*/ 101599 w 177446"/>
                <a:gd name="connsiteY8" fmla="*/ 33488 h 117619"/>
                <a:gd name="connsiteX9" fmla="*/ 81372 w 177446"/>
                <a:gd name="connsiteY9" fmla="*/ 29404 h 117619"/>
                <a:gd name="connsiteX10" fmla="*/ 81372 w 177446"/>
                <a:gd name="connsiteY10" fmla="*/ 29404 h 117619"/>
                <a:gd name="connsiteX11" fmla="*/ 81371 w 177446"/>
                <a:gd name="connsiteY11" fmla="*/ 29404 h 117619"/>
                <a:gd name="connsiteX12" fmla="*/ 81372 w 177446"/>
                <a:gd name="connsiteY12" fmla="*/ 29404 h 117619"/>
                <a:gd name="connsiteX13" fmla="*/ 61144 w 177446"/>
                <a:gd name="connsiteY13" fmla="*/ 33488 h 117619"/>
                <a:gd name="connsiteX14" fmla="*/ 29404 w 177446"/>
                <a:gd name="connsiteY14" fmla="*/ 81372 h 117619"/>
                <a:gd name="connsiteX15" fmla="*/ 29404 w 177446"/>
                <a:gd name="connsiteY15" fmla="*/ 91843 h 117619"/>
                <a:gd name="connsiteX16" fmla="*/ 0 w 177446"/>
                <a:gd name="connsiteY16" fmla="*/ 83382 h 117619"/>
                <a:gd name="connsiteX17" fmla="*/ 0 w 177446"/>
                <a:gd name="connsiteY17" fmla="*/ 81372 h 117619"/>
                <a:gd name="connsiteX18" fmla="*/ 81372 w 177446"/>
                <a:gd name="connsiteY18" fmla="*/ 0 h 117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7446" h="117619">
                  <a:moveTo>
                    <a:pt x="81372" y="0"/>
                  </a:moveTo>
                  <a:cubicBezTo>
                    <a:pt x="126313" y="0"/>
                    <a:pt x="162744" y="36431"/>
                    <a:pt x="162744" y="81372"/>
                  </a:cubicBezTo>
                  <a:cubicBezTo>
                    <a:pt x="162744" y="83653"/>
                    <a:pt x="162743" y="85933"/>
                    <a:pt x="162743" y="88214"/>
                  </a:cubicBezTo>
                  <a:lnTo>
                    <a:pt x="177446" y="88214"/>
                  </a:lnTo>
                  <a:lnTo>
                    <a:pt x="148041" y="117619"/>
                  </a:lnTo>
                  <a:lnTo>
                    <a:pt x="118637" y="88214"/>
                  </a:lnTo>
                  <a:lnTo>
                    <a:pt x="133339" y="88214"/>
                  </a:lnTo>
                  <a:lnTo>
                    <a:pt x="133339" y="81372"/>
                  </a:lnTo>
                  <a:cubicBezTo>
                    <a:pt x="133339" y="59846"/>
                    <a:pt x="120252" y="41377"/>
                    <a:pt x="101599" y="33488"/>
                  </a:cubicBezTo>
                  <a:lnTo>
                    <a:pt x="81372" y="29404"/>
                  </a:lnTo>
                  <a:lnTo>
                    <a:pt x="81372" y="29404"/>
                  </a:lnTo>
                  <a:lnTo>
                    <a:pt x="81371" y="29404"/>
                  </a:lnTo>
                  <a:lnTo>
                    <a:pt x="81372" y="29404"/>
                  </a:lnTo>
                  <a:lnTo>
                    <a:pt x="61144" y="33488"/>
                  </a:lnTo>
                  <a:cubicBezTo>
                    <a:pt x="42492" y="41377"/>
                    <a:pt x="29404" y="59846"/>
                    <a:pt x="29404" y="81372"/>
                  </a:cubicBezTo>
                  <a:lnTo>
                    <a:pt x="29404" y="91843"/>
                  </a:lnTo>
                  <a:lnTo>
                    <a:pt x="0" y="83382"/>
                  </a:lnTo>
                  <a:lnTo>
                    <a:pt x="0" y="81372"/>
                  </a:lnTo>
                  <a:cubicBezTo>
                    <a:pt x="0" y="36431"/>
                    <a:pt x="36431" y="0"/>
                    <a:pt x="81372" y="0"/>
                  </a:cubicBezTo>
                  <a:close/>
                </a:path>
              </a:pathLst>
            </a:custGeom>
            <a:grpFill/>
            <a:ln w="635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6209" marR="0" lvl="0" indent="-176209" algn="l" defTabSz="914378"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Nokia Pure Headline Light"/>
                <a:ea typeface=""/>
                <a:cs typeface=""/>
              </a:endParaRPr>
            </a:p>
          </p:txBody>
        </p:sp>
        <p:sp>
          <p:nvSpPr>
            <p:cNvPr id="297" name="Freihandform: Form 209"/>
            <p:cNvSpPr/>
            <p:nvPr/>
          </p:nvSpPr>
          <p:spPr>
            <a:xfrm>
              <a:off x="8211977" y="2746577"/>
              <a:ext cx="177446" cy="117619"/>
            </a:xfrm>
            <a:custGeom>
              <a:avLst/>
              <a:gdLst>
                <a:gd name="connsiteX0" fmla="*/ 81372 w 177446"/>
                <a:gd name="connsiteY0" fmla="*/ 0 h 117619"/>
                <a:gd name="connsiteX1" fmla="*/ 162744 w 177446"/>
                <a:gd name="connsiteY1" fmla="*/ 81372 h 117619"/>
                <a:gd name="connsiteX2" fmla="*/ 162743 w 177446"/>
                <a:gd name="connsiteY2" fmla="*/ 88214 h 117619"/>
                <a:gd name="connsiteX3" fmla="*/ 177446 w 177446"/>
                <a:gd name="connsiteY3" fmla="*/ 88214 h 117619"/>
                <a:gd name="connsiteX4" fmla="*/ 148041 w 177446"/>
                <a:gd name="connsiteY4" fmla="*/ 117619 h 117619"/>
                <a:gd name="connsiteX5" fmla="*/ 118637 w 177446"/>
                <a:gd name="connsiteY5" fmla="*/ 88214 h 117619"/>
                <a:gd name="connsiteX6" fmla="*/ 133339 w 177446"/>
                <a:gd name="connsiteY6" fmla="*/ 88214 h 117619"/>
                <a:gd name="connsiteX7" fmla="*/ 133339 w 177446"/>
                <a:gd name="connsiteY7" fmla="*/ 81372 h 117619"/>
                <a:gd name="connsiteX8" fmla="*/ 101599 w 177446"/>
                <a:gd name="connsiteY8" fmla="*/ 33488 h 117619"/>
                <a:gd name="connsiteX9" fmla="*/ 81372 w 177446"/>
                <a:gd name="connsiteY9" fmla="*/ 29404 h 117619"/>
                <a:gd name="connsiteX10" fmla="*/ 81372 w 177446"/>
                <a:gd name="connsiteY10" fmla="*/ 29404 h 117619"/>
                <a:gd name="connsiteX11" fmla="*/ 81371 w 177446"/>
                <a:gd name="connsiteY11" fmla="*/ 29404 h 117619"/>
                <a:gd name="connsiteX12" fmla="*/ 81372 w 177446"/>
                <a:gd name="connsiteY12" fmla="*/ 29404 h 117619"/>
                <a:gd name="connsiteX13" fmla="*/ 61144 w 177446"/>
                <a:gd name="connsiteY13" fmla="*/ 33488 h 117619"/>
                <a:gd name="connsiteX14" fmla="*/ 29404 w 177446"/>
                <a:gd name="connsiteY14" fmla="*/ 81372 h 117619"/>
                <a:gd name="connsiteX15" fmla="*/ 29404 w 177446"/>
                <a:gd name="connsiteY15" fmla="*/ 94632 h 117619"/>
                <a:gd name="connsiteX16" fmla="*/ 0 w 177446"/>
                <a:gd name="connsiteY16" fmla="*/ 86171 h 117619"/>
                <a:gd name="connsiteX17" fmla="*/ 0 w 177446"/>
                <a:gd name="connsiteY17" fmla="*/ 81372 h 117619"/>
                <a:gd name="connsiteX18" fmla="*/ 81372 w 177446"/>
                <a:gd name="connsiteY18" fmla="*/ 0 h 117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7446" h="117619">
                  <a:moveTo>
                    <a:pt x="81372" y="0"/>
                  </a:moveTo>
                  <a:cubicBezTo>
                    <a:pt x="126313" y="0"/>
                    <a:pt x="162744" y="36431"/>
                    <a:pt x="162744" y="81372"/>
                  </a:cubicBezTo>
                  <a:cubicBezTo>
                    <a:pt x="162744" y="83653"/>
                    <a:pt x="162743" y="85933"/>
                    <a:pt x="162743" y="88214"/>
                  </a:cubicBezTo>
                  <a:lnTo>
                    <a:pt x="177446" y="88214"/>
                  </a:lnTo>
                  <a:lnTo>
                    <a:pt x="148041" y="117619"/>
                  </a:lnTo>
                  <a:lnTo>
                    <a:pt x="118637" y="88214"/>
                  </a:lnTo>
                  <a:lnTo>
                    <a:pt x="133339" y="88214"/>
                  </a:lnTo>
                  <a:lnTo>
                    <a:pt x="133339" y="81372"/>
                  </a:lnTo>
                  <a:cubicBezTo>
                    <a:pt x="133339" y="59846"/>
                    <a:pt x="120252" y="41377"/>
                    <a:pt x="101599" y="33488"/>
                  </a:cubicBezTo>
                  <a:lnTo>
                    <a:pt x="81372" y="29404"/>
                  </a:lnTo>
                  <a:lnTo>
                    <a:pt x="81372" y="29404"/>
                  </a:lnTo>
                  <a:lnTo>
                    <a:pt x="81371" y="29404"/>
                  </a:lnTo>
                  <a:lnTo>
                    <a:pt x="81372" y="29404"/>
                  </a:lnTo>
                  <a:lnTo>
                    <a:pt x="61144" y="33488"/>
                  </a:lnTo>
                  <a:cubicBezTo>
                    <a:pt x="42492" y="41377"/>
                    <a:pt x="29404" y="59846"/>
                    <a:pt x="29404" y="81372"/>
                  </a:cubicBezTo>
                  <a:lnTo>
                    <a:pt x="29404" y="94632"/>
                  </a:lnTo>
                  <a:lnTo>
                    <a:pt x="0" y="86171"/>
                  </a:lnTo>
                  <a:lnTo>
                    <a:pt x="0" y="81372"/>
                  </a:lnTo>
                  <a:cubicBezTo>
                    <a:pt x="0" y="36431"/>
                    <a:pt x="36431" y="0"/>
                    <a:pt x="81372" y="0"/>
                  </a:cubicBezTo>
                  <a:close/>
                </a:path>
              </a:pathLst>
            </a:custGeom>
            <a:grpFill/>
            <a:ln w="635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6209" marR="0" lvl="0" indent="-176209" algn="l" defTabSz="914378"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Nokia Pure Headline Light"/>
                <a:ea typeface=""/>
                <a:cs typeface=""/>
              </a:endParaRPr>
            </a:p>
          </p:txBody>
        </p:sp>
        <p:sp>
          <p:nvSpPr>
            <p:cNvPr id="298" name="Freihandform: Form 210"/>
            <p:cNvSpPr/>
            <p:nvPr/>
          </p:nvSpPr>
          <p:spPr>
            <a:xfrm>
              <a:off x="8413022" y="2744330"/>
              <a:ext cx="177446" cy="117619"/>
            </a:xfrm>
            <a:custGeom>
              <a:avLst/>
              <a:gdLst>
                <a:gd name="connsiteX0" fmla="*/ 81372 w 177446"/>
                <a:gd name="connsiteY0" fmla="*/ 0 h 117619"/>
                <a:gd name="connsiteX1" fmla="*/ 162744 w 177446"/>
                <a:gd name="connsiteY1" fmla="*/ 81372 h 117619"/>
                <a:gd name="connsiteX2" fmla="*/ 162743 w 177446"/>
                <a:gd name="connsiteY2" fmla="*/ 88214 h 117619"/>
                <a:gd name="connsiteX3" fmla="*/ 177446 w 177446"/>
                <a:gd name="connsiteY3" fmla="*/ 88214 h 117619"/>
                <a:gd name="connsiteX4" fmla="*/ 148041 w 177446"/>
                <a:gd name="connsiteY4" fmla="*/ 117619 h 117619"/>
                <a:gd name="connsiteX5" fmla="*/ 118637 w 177446"/>
                <a:gd name="connsiteY5" fmla="*/ 88214 h 117619"/>
                <a:gd name="connsiteX6" fmla="*/ 133339 w 177446"/>
                <a:gd name="connsiteY6" fmla="*/ 88214 h 117619"/>
                <a:gd name="connsiteX7" fmla="*/ 133339 w 177446"/>
                <a:gd name="connsiteY7" fmla="*/ 81372 h 117619"/>
                <a:gd name="connsiteX8" fmla="*/ 101599 w 177446"/>
                <a:gd name="connsiteY8" fmla="*/ 33488 h 117619"/>
                <a:gd name="connsiteX9" fmla="*/ 81371 w 177446"/>
                <a:gd name="connsiteY9" fmla="*/ 29404 h 117619"/>
                <a:gd name="connsiteX10" fmla="*/ 81372 w 177446"/>
                <a:gd name="connsiteY10" fmla="*/ 29404 h 117619"/>
                <a:gd name="connsiteX11" fmla="*/ 81371 w 177446"/>
                <a:gd name="connsiteY11" fmla="*/ 29404 h 117619"/>
                <a:gd name="connsiteX12" fmla="*/ 81371 w 177446"/>
                <a:gd name="connsiteY12" fmla="*/ 29404 h 117619"/>
                <a:gd name="connsiteX13" fmla="*/ 61144 w 177446"/>
                <a:gd name="connsiteY13" fmla="*/ 33488 h 117619"/>
                <a:gd name="connsiteX14" fmla="*/ 29404 w 177446"/>
                <a:gd name="connsiteY14" fmla="*/ 81372 h 117619"/>
                <a:gd name="connsiteX15" fmla="*/ 29404 w 177446"/>
                <a:gd name="connsiteY15" fmla="*/ 97547 h 117619"/>
                <a:gd name="connsiteX16" fmla="*/ 0 w 177446"/>
                <a:gd name="connsiteY16" fmla="*/ 89086 h 117619"/>
                <a:gd name="connsiteX17" fmla="*/ 0 w 177446"/>
                <a:gd name="connsiteY17" fmla="*/ 81372 h 117619"/>
                <a:gd name="connsiteX18" fmla="*/ 81372 w 177446"/>
                <a:gd name="connsiteY18" fmla="*/ 0 h 117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7446" h="117619">
                  <a:moveTo>
                    <a:pt x="81372" y="0"/>
                  </a:moveTo>
                  <a:cubicBezTo>
                    <a:pt x="126313" y="0"/>
                    <a:pt x="162744" y="36431"/>
                    <a:pt x="162744" y="81372"/>
                  </a:cubicBezTo>
                  <a:cubicBezTo>
                    <a:pt x="162744" y="83653"/>
                    <a:pt x="162743" y="85933"/>
                    <a:pt x="162743" y="88214"/>
                  </a:cubicBezTo>
                  <a:lnTo>
                    <a:pt x="177446" y="88214"/>
                  </a:lnTo>
                  <a:lnTo>
                    <a:pt x="148041" y="117619"/>
                  </a:lnTo>
                  <a:lnTo>
                    <a:pt x="118637" y="88214"/>
                  </a:lnTo>
                  <a:lnTo>
                    <a:pt x="133339" y="88214"/>
                  </a:lnTo>
                  <a:lnTo>
                    <a:pt x="133339" y="81372"/>
                  </a:lnTo>
                  <a:cubicBezTo>
                    <a:pt x="133339" y="59846"/>
                    <a:pt x="120251" y="41377"/>
                    <a:pt x="101599" y="33488"/>
                  </a:cubicBezTo>
                  <a:lnTo>
                    <a:pt x="81371" y="29404"/>
                  </a:lnTo>
                  <a:lnTo>
                    <a:pt x="81372" y="29404"/>
                  </a:lnTo>
                  <a:lnTo>
                    <a:pt x="81371" y="29404"/>
                  </a:lnTo>
                  <a:lnTo>
                    <a:pt x="81371" y="29404"/>
                  </a:lnTo>
                  <a:lnTo>
                    <a:pt x="61144" y="33488"/>
                  </a:lnTo>
                  <a:cubicBezTo>
                    <a:pt x="42492" y="41377"/>
                    <a:pt x="29404" y="59846"/>
                    <a:pt x="29404" y="81372"/>
                  </a:cubicBezTo>
                  <a:lnTo>
                    <a:pt x="29404" y="97547"/>
                  </a:lnTo>
                  <a:lnTo>
                    <a:pt x="0" y="89086"/>
                  </a:lnTo>
                  <a:lnTo>
                    <a:pt x="0" y="81372"/>
                  </a:lnTo>
                  <a:cubicBezTo>
                    <a:pt x="0" y="36431"/>
                    <a:pt x="36431" y="0"/>
                    <a:pt x="81372" y="0"/>
                  </a:cubicBezTo>
                  <a:close/>
                </a:path>
              </a:pathLst>
            </a:custGeom>
            <a:grpFill/>
            <a:ln w="635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6209" marR="0" lvl="0" indent="-176209" algn="l" defTabSz="457189"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Nokia Pure Headline Light"/>
                <a:ea typeface=""/>
                <a:cs typeface=""/>
              </a:endParaRPr>
            </a:p>
          </p:txBody>
        </p:sp>
      </p:grpSp>
      <p:grpSp>
        <p:nvGrpSpPr>
          <p:cNvPr id="302" name="Gruppieren 5"/>
          <p:cNvGrpSpPr/>
          <p:nvPr/>
        </p:nvGrpSpPr>
        <p:grpSpPr>
          <a:xfrm>
            <a:off x="2232025" y="1376727"/>
            <a:ext cx="4679951" cy="2484000"/>
            <a:chOff x="2232024" y="1205277"/>
            <a:chExt cx="4679951" cy="2484000"/>
          </a:xfrm>
        </p:grpSpPr>
        <p:sp>
          <p:nvSpPr>
            <p:cNvPr id="303" name="Rechteck 110"/>
            <p:cNvSpPr/>
            <p:nvPr/>
          </p:nvSpPr>
          <p:spPr>
            <a:xfrm>
              <a:off x="2232024" y="1205277"/>
              <a:ext cx="4679951" cy="2484000"/>
            </a:xfrm>
            <a:prstGeom prst="rect">
              <a:avLst/>
            </a:prstGeom>
            <a:solidFill>
              <a:schemeClr val="tx2"/>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white"/>
                </a:solidFill>
                <a:effectLst/>
                <a:uLnTx/>
                <a:uFillTx/>
                <a:latin typeface="Nokia Pure Headline Light"/>
                <a:ea typeface=""/>
                <a:cs typeface=""/>
              </a:endParaRPr>
            </a:p>
          </p:txBody>
        </p:sp>
        <p:sp>
          <p:nvSpPr>
            <p:cNvPr id="304" name="Freihandform: Form 193"/>
            <p:cNvSpPr/>
            <p:nvPr/>
          </p:nvSpPr>
          <p:spPr>
            <a:xfrm>
              <a:off x="2350065" y="1265616"/>
              <a:ext cx="4409314" cy="1976829"/>
            </a:xfrm>
            <a:custGeom>
              <a:avLst/>
              <a:gdLst>
                <a:gd name="connsiteX0" fmla="*/ 617866 w 4409314"/>
                <a:gd name="connsiteY0" fmla="*/ 1847964 h 1976829"/>
                <a:gd name="connsiteX1" fmla="*/ 1656686 w 4409314"/>
                <a:gd name="connsiteY1" fmla="*/ 1847964 h 1976829"/>
                <a:gd name="connsiteX2" fmla="*/ 1630805 w 4409314"/>
                <a:gd name="connsiteY2" fmla="*/ 1869903 h 1976829"/>
                <a:gd name="connsiteX3" fmla="*/ 1548294 w 4409314"/>
                <a:gd name="connsiteY3" fmla="*/ 1919224 h 1976829"/>
                <a:gd name="connsiteX4" fmla="*/ 532133 w 4409314"/>
                <a:gd name="connsiteY4" fmla="*/ 1919224 h 1976829"/>
                <a:gd name="connsiteX5" fmla="*/ 411164 w 4409314"/>
                <a:gd name="connsiteY5" fmla="*/ 1847964 h 1976829"/>
                <a:gd name="connsiteX6" fmla="*/ 521128 w 4409314"/>
                <a:gd name="connsiteY6" fmla="*/ 1847964 h 1976829"/>
                <a:gd name="connsiteX7" fmla="*/ 469833 w 4409314"/>
                <a:gd name="connsiteY7" fmla="*/ 1890600 h 1976829"/>
                <a:gd name="connsiteX8" fmla="*/ 465804 w 4409314"/>
                <a:gd name="connsiteY8" fmla="*/ 1888211 h 1976829"/>
                <a:gd name="connsiteX9" fmla="*/ 1812684 w 4409314"/>
                <a:gd name="connsiteY9" fmla="*/ 1623030 h 1976829"/>
                <a:gd name="connsiteX10" fmla="*/ 1897391 w 4409314"/>
                <a:gd name="connsiteY10" fmla="*/ 1623030 h 1976829"/>
                <a:gd name="connsiteX11" fmla="*/ 1832376 w 4409314"/>
                <a:gd name="connsiteY11" fmla="*/ 1688045 h 1976829"/>
                <a:gd name="connsiteX12" fmla="*/ 714391 w 4409314"/>
                <a:gd name="connsiteY12" fmla="*/ 1623030 h 1976829"/>
                <a:gd name="connsiteX13" fmla="*/ 848230 w 4409314"/>
                <a:gd name="connsiteY13" fmla="*/ 1623030 h 1976829"/>
                <a:gd name="connsiteX14" fmla="*/ 850522 w 4409314"/>
                <a:gd name="connsiteY14" fmla="*/ 1624012 h 1976829"/>
                <a:gd name="connsiteX15" fmla="*/ 1235620 w 4409314"/>
                <a:gd name="connsiteY15" fmla="*/ 1629127 h 1976829"/>
                <a:gd name="connsiteX16" fmla="*/ 1250948 w 4409314"/>
                <a:gd name="connsiteY16" fmla="*/ 1623030 h 1976829"/>
                <a:gd name="connsiteX17" fmla="*/ 1748075 w 4409314"/>
                <a:gd name="connsiteY17" fmla="*/ 1623030 h 1976829"/>
                <a:gd name="connsiteX18" fmla="*/ 1769658 w 4409314"/>
                <a:gd name="connsiteY18" fmla="*/ 1694290 h 1976829"/>
                <a:gd name="connsiteX19" fmla="*/ 710414 w 4409314"/>
                <a:gd name="connsiteY19" fmla="*/ 1694290 h 1976829"/>
                <a:gd name="connsiteX20" fmla="*/ 193614 w 4409314"/>
                <a:gd name="connsiteY20" fmla="*/ 1623030 h 1976829"/>
                <a:gd name="connsiteX21" fmla="*/ 652459 w 4409314"/>
                <a:gd name="connsiteY21" fmla="*/ 1623030 h 1976829"/>
                <a:gd name="connsiteX22" fmla="*/ 648481 w 4409314"/>
                <a:gd name="connsiteY22" fmla="*/ 1694290 h 1976829"/>
                <a:gd name="connsiteX23" fmla="*/ 249639 w 4409314"/>
                <a:gd name="connsiteY23" fmla="*/ 1694290 h 1976829"/>
                <a:gd name="connsiteX24" fmla="*/ 216659 w 4409314"/>
                <a:gd name="connsiteY24" fmla="*/ 1656898 h 1976829"/>
                <a:gd name="connsiteX25" fmla="*/ 2885151 w 4409314"/>
                <a:gd name="connsiteY25" fmla="*/ 1442420 h 1976829"/>
                <a:gd name="connsiteX26" fmla="*/ 2916912 w 4409314"/>
                <a:gd name="connsiteY26" fmla="*/ 1474181 h 1976829"/>
                <a:gd name="connsiteX27" fmla="*/ 3801523 w 4409314"/>
                <a:gd name="connsiteY27" fmla="*/ 1473119 h 1976829"/>
                <a:gd name="connsiteX28" fmla="*/ 3808160 w 4409314"/>
                <a:gd name="connsiteY28" fmla="*/ 1465823 h 1976829"/>
                <a:gd name="connsiteX29" fmla="*/ 3887601 w 4409314"/>
                <a:gd name="connsiteY29" fmla="*/ 1682986 h 1976829"/>
                <a:gd name="connsiteX30" fmla="*/ 4091154 w 4409314"/>
                <a:gd name="connsiteY30" fmla="*/ 1768698 h 1976829"/>
                <a:gd name="connsiteX31" fmla="*/ 4027034 w 4409314"/>
                <a:gd name="connsiteY31" fmla="*/ 1826689 h 1976829"/>
                <a:gd name="connsiteX32" fmla="*/ 3781509 w 4409314"/>
                <a:gd name="connsiteY32" fmla="*/ 1975727 h 1976829"/>
                <a:gd name="connsiteX33" fmla="*/ 3778585 w 4409314"/>
                <a:gd name="connsiteY33" fmla="*/ 1976829 h 1976829"/>
                <a:gd name="connsiteX34" fmla="*/ 3721100 w 4409314"/>
                <a:gd name="connsiteY34" fmla="*/ 1888061 h 1976829"/>
                <a:gd name="connsiteX35" fmla="*/ 3721100 w 4409314"/>
                <a:gd name="connsiteY35" fmla="*/ 1919224 h 1976829"/>
                <a:gd name="connsiteX36" fmla="*/ 2856394 w 4409314"/>
                <a:gd name="connsiteY36" fmla="*/ 1919224 h 1976829"/>
                <a:gd name="connsiteX37" fmla="*/ 2799598 w 4409314"/>
                <a:gd name="connsiteY37" fmla="*/ 1884565 h 1976829"/>
                <a:gd name="connsiteX38" fmla="*/ 2750695 w 4409314"/>
                <a:gd name="connsiteY38" fmla="*/ 1847964 h 1976829"/>
                <a:gd name="connsiteX39" fmla="*/ 3069147 w 4409314"/>
                <a:gd name="connsiteY39" fmla="*/ 1847964 h 1976829"/>
                <a:gd name="connsiteX40" fmla="*/ 3069147 w 4409314"/>
                <a:gd name="connsiteY40" fmla="*/ 1879127 h 1976829"/>
                <a:gd name="connsiteX41" fmla="*/ 3139086 w 4409314"/>
                <a:gd name="connsiteY41" fmla="*/ 1771127 h 1976829"/>
                <a:gd name="connsiteX42" fmla="*/ 3069147 w 4409314"/>
                <a:gd name="connsiteY42" fmla="*/ 1663127 h 1976829"/>
                <a:gd name="connsiteX43" fmla="*/ 3069147 w 4409314"/>
                <a:gd name="connsiteY43" fmla="*/ 1694290 h 1976829"/>
                <a:gd name="connsiteX44" fmla="*/ 2655051 w 4409314"/>
                <a:gd name="connsiteY44" fmla="*/ 1694290 h 1976829"/>
                <a:gd name="connsiteX45" fmla="*/ 2704570 w 4409314"/>
                <a:gd name="connsiteY45" fmla="*/ 1530797 h 1976829"/>
                <a:gd name="connsiteX46" fmla="*/ 1529222 w 4409314"/>
                <a:gd name="connsiteY46" fmla="*/ 1437362 h 1976829"/>
                <a:gd name="connsiteX47" fmla="*/ 1594596 w 4409314"/>
                <a:gd name="connsiteY47" fmla="*/ 1469356 h 1976829"/>
                <a:gd name="connsiteX48" fmla="*/ 1497229 w 4409314"/>
                <a:gd name="connsiteY48" fmla="*/ 1469356 h 1976829"/>
                <a:gd name="connsiteX49" fmla="*/ 77511 w 4409314"/>
                <a:gd name="connsiteY49" fmla="*/ 1398096 h 1976829"/>
                <a:gd name="connsiteX50" fmla="*/ 549520 w 4409314"/>
                <a:gd name="connsiteY50" fmla="*/ 1398096 h 1976829"/>
                <a:gd name="connsiteX51" fmla="*/ 604869 w 4409314"/>
                <a:gd name="connsiteY51" fmla="*/ 1469356 h 1976829"/>
                <a:gd name="connsiteX52" fmla="*/ 108706 w 4409314"/>
                <a:gd name="connsiteY52" fmla="*/ 1469356 h 1976829"/>
                <a:gd name="connsiteX53" fmla="*/ 22992 w 4409314"/>
                <a:gd name="connsiteY53" fmla="*/ 813894 h 1976829"/>
                <a:gd name="connsiteX54" fmla="*/ 78015 w 4409314"/>
                <a:gd name="connsiteY54" fmla="*/ 846994 h 1976829"/>
                <a:gd name="connsiteX55" fmla="*/ 93133 w 4409314"/>
                <a:gd name="connsiteY55" fmla="*/ 854551 h 1976829"/>
                <a:gd name="connsiteX56" fmla="*/ 256998 w 4409314"/>
                <a:gd name="connsiteY56" fmla="*/ 954027 h 1976829"/>
                <a:gd name="connsiteX57" fmla="*/ 437118 w 4409314"/>
                <a:gd name="connsiteY57" fmla="*/ 905176 h 1976829"/>
                <a:gd name="connsiteX58" fmla="*/ 435358 w 4409314"/>
                <a:gd name="connsiteY58" fmla="*/ 911138 h 1976829"/>
                <a:gd name="connsiteX59" fmla="*/ 450029 w 4409314"/>
                <a:gd name="connsiteY59" fmla="*/ 1208717 h 1976829"/>
                <a:gd name="connsiteX60" fmla="*/ 465606 w 4409314"/>
                <a:gd name="connsiteY60" fmla="*/ 1244422 h 1976829"/>
                <a:gd name="connsiteX61" fmla="*/ 48622 w 4409314"/>
                <a:gd name="connsiteY61" fmla="*/ 1244422 h 1976829"/>
                <a:gd name="connsiteX62" fmla="*/ 48622 w 4409314"/>
                <a:gd name="connsiteY62" fmla="*/ 1213259 h 1976829"/>
                <a:gd name="connsiteX63" fmla="*/ 29919 w 4409314"/>
                <a:gd name="connsiteY63" fmla="*/ 1242141 h 1976829"/>
                <a:gd name="connsiteX64" fmla="*/ 1334 w 4409314"/>
                <a:gd name="connsiteY64" fmla="*/ 1076061 h 1976829"/>
                <a:gd name="connsiteX65" fmla="*/ 18255 w 4409314"/>
                <a:gd name="connsiteY65" fmla="*/ 830029 h 1976829"/>
                <a:gd name="connsiteX66" fmla="*/ 4120481 w 4409314"/>
                <a:gd name="connsiteY66" fmla="*/ 311098 h 1976829"/>
                <a:gd name="connsiteX67" fmla="*/ 4180368 w 4409314"/>
                <a:gd name="connsiteY67" fmla="*/ 377396 h 1976829"/>
                <a:gd name="connsiteX68" fmla="*/ 4172236 w 4409314"/>
                <a:gd name="connsiteY68" fmla="*/ 1682389 h 1976829"/>
                <a:gd name="connsiteX69" fmla="*/ 4137129 w 4409314"/>
                <a:gd name="connsiteY69" fmla="*/ 1720963 h 1976829"/>
                <a:gd name="connsiteX70" fmla="*/ 3936420 w 4409314"/>
                <a:gd name="connsiteY70" fmla="*/ 1636449 h 1976829"/>
                <a:gd name="connsiteX71" fmla="*/ 3854367 w 4409314"/>
                <a:gd name="connsiteY71" fmla="*/ 1412145 h 1976829"/>
                <a:gd name="connsiteX72" fmla="*/ 3877448 w 4409314"/>
                <a:gd name="connsiteY72" fmla="*/ 1381384 h 1976829"/>
                <a:gd name="connsiteX73" fmla="*/ 3845469 w 4409314"/>
                <a:gd name="connsiteY73" fmla="*/ 635963 h 1976829"/>
                <a:gd name="connsiteX74" fmla="*/ 3814483 w 4409314"/>
                <a:gd name="connsiteY74" fmla="*/ 601673 h 1976829"/>
                <a:gd name="connsiteX75" fmla="*/ 4025702 w 4409314"/>
                <a:gd name="connsiteY75" fmla="*/ 527718 h 1976829"/>
                <a:gd name="connsiteX76" fmla="*/ 1581310 w 4409314"/>
                <a:gd name="connsiteY76" fmla="*/ 163990 h 1976829"/>
                <a:gd name="connsiteX77" fmla="*/ 1593808 w 4409314"/>
                <a:gd name="connsiteY77" fmla="*/ 171400 h 1976829"/>
                <a:gd name="connsiteX78" fmla="*/ 1755758 w 4409314"/>
                <a:gd name="connsiteY78" fmla="*/ 303853 h 1976829"/>
                <a:gd name="connsiteX79" fmla="*/ 2204657 w 4409314"/>
                <a:gd name="connsiteY79" fmla="*/ 752751 h 1976829"/>
                <a:gd name="connsiteX80" fmla="*/ 2653556 w 4409314"/>
                <a:gd name="connsiteY80" fmla="*/ 303853 h 1976829"/>
                <a:gd name="connsiteX81" fmla="*/ 2815507 w 4409314"/>
                <a:gd name="connsiteY81" fmla="*/ 171400 h 1976829"/>
                <a:gd name="connsiteX82" fmla="*/ 2825493 w 4409314"/>
                <a:gd name="connsiteY82" fmla="*/ 165479 h 1976829"/>
                <a:gd name="connsiteX83" fmla="*/ 2975440 w 4409314"/>
                <a:gd name="connsiteY83" fmla="*/ 293068 h 1976829"/>
                <a:gd name="connsiteX84" fmla="*/ 2985993 w 4409314"/>
                <a:gd name="connsiteY84" fmla="*/ 531522 h 1976829"/>
                <a:gd name="connsiteX85" fmla="*/ 2965533 w 4409314"/>
                <a:gd name="connsiteY85" fmla="*/ 546574 h 1976829"/>
                <a:gd name="connsiteX86" fmla="*/ 2917975 w 4409314"/>
                <a:gd name="connsiteY86" fmla="*/ 589571 h 1976829"/>
                <a:gd name="connsiteX87" fmla="*/ 2479725 w 4409314"/>
                <a:gd name="connsiteY87" fmla="*/ 1027820 h 1976829"/>
                <a:gd name="connsiteX88" fmla="*/ 2486163 w 4409314"/>
                <a:gd name="connsiteY88" fmla="*/ 1034258 h 1976829"/>
                <a:gd name="connsiteX89" fmla="*/ 2481576 w 4409314"/>
                <a:gd name="connsiteY89" fmla="*/ 1038845 h 1976829"/>
                <a:gd name="connsiteX90" fmla="*/ 2838929 w 4409314"/>
                <a:gd name="connsiteY90" fmla="*/ 1396198 h 1976829"/>
                <a:gd name="connsiteX91" fmla="*/ 2653197 w 4409314"/>
                <a:gd name="connsiteY91" fmla="*/ 1487096 h 1976829"/>
                <a:gd name="connsiteX92" fmla="*/ 2590442 w 4409314"/>
                <a:gd name="connsiteY92" fmla="*/ 1694290 h 1976829"/>
                <a:gd name="connsiteX93" fmla="*/ 2583183 w 4409314"/>
                <a:gd name="connsiteY93" fmla="*/ 1694290 h 1976829"/>
                <a:gd name="connsiteX94" fmla="*/ 2464988 w 4409314"/>
                <a:gd name="connsiteY94" fmla="*/ 1576095 h 1976829"/>
                <a:gd name="connsiteX95" fmla="*/ 2484352 w 4409314"/>
                <a:gd name="connsiteY95" fmla="*/ 1546193 h 1976829"/>
                <a:gd name="connsiteX96" fmla="*/ 2414413 w 4409314"/>
                <a:gd name="connsiteY96" fmla="*/ 1438193 h 1976829"/>
                <a:gd name="connsiteX97" fmla="*/ 2414413 w 4409314"/>
                <a:gd name="connsiteY97" fmla="*/ 1469356 h 1976829"/>
                <a:gd name="connsiteX98" fmla="*/ 2358249 w 4409314"/>
                <a:gd name="connsiteY98" fmla="*/ 1469356 h 1976829"/>
                <a:gd name="connsiteX99" fmla="*/ 2204657 w 4409314"/>
                <a:gd name="connsiteY99" fmla="*/ 1315764 h 1976829"/>
                <a:gd name="connsiteX100" fmla="*/ 2051065 w 4409314"/>
                <a:gd name="connsiteY100" fmla="*/ 1469356 h 1976829"/>
                <a:gd name="connsiteX101" fmla="*/ 1735264 w 4409314"/>
                <a:gd name="connsiteY101" fmla="*/ 1469356 h 1976829"/>
                <a:gd name="connsiteX102" fmla="*/ 1575445 w 4409314"/>
                <a:gd name="connsiteY102" fmla="*/ 1391140 h 1976829"/>
                <a:gd name="connsiteX103" fmla="*/ 1927739 w 4409314"/>
                <a:gd name="connsiteY103" fmla="*/ 1038845 h 1976829"/>
                <a:gd name="connsiteX104" fmla="*/ 1923151 w 4409314"/>
                <a:gd name="connsiteY104" fmla="*/ 1034258 h 1976829"/>
                <a:gd name="connsiteX105" fmla="*/ 1929589 w 4409314"/>
                <a:gd name="connsiteY105" fmla="*/ 1027820 h 1976829"/>
                <a:gd name="connsiteX106" fmla="*/ 1491340 w 4409314"/>
                <a:gd name="connsiteY106" fmla="*/ 589571 h 1976829"/>
                <a:gd name="connsiteX107" fmla="*/ 1443782 w 4409314"/>
                <a:gd name="connsiteY107" fmla="*/ 546574 h 1976829"/>
                <a:gd name="connsiteX108" fmla="*/ 1407309 w 4409314"/>
                <a:gd name="connsiteY108" fmla="*/ 519740 h 1976829"/>
                <a:gd name="connsiteX109" fmla="*/ 1421138 w 4409314"/>
                <a:gd name="connsiteY109" fmla="*/ 295547 h 1976829"/>
                <a:gd name="connsiteX110" fmla="*/ 3382657 w 4409314"/>
                <a:gd name="connsiteY110" fmla="*/ 5 h 1976829"/>
                <a:gd name="connsiteX111" fmla="*/ 4031919 w 4409314"/>
                <a:gd name="connsiteY111" fmla="*/ 228947 h 1976829"/>
                <a:gd name="connsiteX112" fmla="*/ 4072780 w 4409314"/>
                <a:gd name="connsiteY112" fmla="*/ 265857 h 1976829"/>
                <a:gd name="connsiteX113" fmla="*/ 3979847 w 4409314"/>
                <a:gd name="connsiteY113" fmla="*/ 478257 h 1976829"/>
                <a:gd name="connsiteX114" fmla="*/ 3764153 w 4409314"/>
                <a:gd name="connsiteY114" fmla="*/ 553778 h 1976829"/>
                <a:gd name="connsiteX115" fmla="*/ 3755131 w 4409314"/>
                <a:gd name="connsiteY115" fmla="*/ 545625 h 1976829"/>
                <a:gd name="connsiteX116" fmla="*/ 3360500 w 4409314"/>
                <a:gd name="connsiteY116" fmla="*/ 405830 h 1976829"/>
                <a:gd name="connsiteX117" fmla="*/ 3069522 w 4409314"/>
                <a:gd name="connsiteY117" fmla="*/ 477746 h 1976829"/>
                <a:gd name="connsiteX118" fmla="*/ 3046122 w 4409314"/>
                <a:gd name="connsiteY118" fmla="*/ 491592 h 1976829"/>
                <a:gd name="connsiteX119" fmla="*/ 3036025 w 4409314"/>
                <a:gd name="connsiteY119" fmla="*/ 263427 h 1976829"/>
                <a:gd name="connsiteX120" fmla="*/ 2881727 w 4409314"/>
                <a:gd name="connsiteY120" fmla="*/ 132137 h 1976829"/>
                <a:gd name="connsiteX121" fmla="*/ 2903394 w 4409314"/>
                <a:gd name="connsiteY121" fmla="*/ 119290 h 1976829"/>
                <a:gd name="connsiteX122" fmla="*/ 3382657 w 4409314"/>
                <a:gd name="connsiteY122" fmla="*/ 5 h 1976829"/>
                <a:gd name="connsiteX123" fmla="*/ 1026658 w 4409314"/>
                <a:gd name="connsiteY123" fmla="*/ 5 h 1976829"/>
                <a:gd name="connsiteX124" fmla="*/ 1505921 w 4409314"/>
                <a:gd name="connsiteY124" fmla="*/ 119290 h 1976829"/>
                <a:gd name="connsiteX125" fmla="*/ 1524730 w 4409314"/>
                <a:gd name="connsiteY125" fmla="*/ 130442 h 1976829"/>
                <a:gd name="connsiteX126" fmla="*/ 1361078 w 4409314"/>
                <a:gd name="connsiteY126" fmla="*/ 264858 h 1976829"/>
                <a:gd name="connsiteX127" fmla="*/ 1347659 w 4409314"/>
                <a:gd name="connsiteY127" fmla="*/ 482401 h 1976829"/>
                <a:gd name="connsiteX128" fmla="*/ 1339793 w 4409314"/>
                <a:gd name="connsiteY128" fmla="*/ 477746 h 1976829"/>
                <a:gd name="connsiteX129" fmla="*/ 1048814 w 4409314"/>
                <a:gd name="connsiteY129" fmla="*/ 405830 h 1976829"/>
                <a:gd name="connsiteX130" fmla="*/ 606728 w 4409314"/>
                <a:gd name="connsiteY130" fmla="*/ 588508 h 1976829"/>
                <a:gd name="connsiteX131" fmla="*/ 469570 w 4409314"/>
                <a:gd name="connsiteY131" fmla="*/ 795267 h 1976829"/>
                <a:gd name="connsiteX132" fmla="*/ 457682 w 4409314"/>
                <a:gd name="connsiteY132" fmla="*/ 835530 h 1976829"/>
                <a:gd name="connsiteX133" fmla="*/ 266806 w 4409314"/>
                <a:gd name="connsiteY133" fmla="*/ 887298 h 1976829"/>
                <a:gd name="connsiteX134" fmla="*/ 44882 w 4409314"/>
                <a:gd name="connsiteY134" fmla="*/ 749174 h 1976829"/>
                <a:gd name="connsiteX135" fmla="*/ 44127 w 4409314"/>
                <a:gd name="connsiteY135" fmla="*/ 751686 h 1976829"/>
                <a:gd name="connsiteX136" fmla="*/ 41683 w 4409314"/>
                <a:gd name="connsiteY136" fmla="*/ 750225 h 1976829"/>
                <a:gd name="connsiteX137" fmla="*/ 74226 w 4409314"/>
                <a:gd name="connsiteY137" fmla="*/ 639373 h 1976829"/>
                <a:gd name="connsiteX138" fmla="*/ 299400 w 4409314"/>
                <a:gd name="connsiteY138" fmla="*/ 299400 h 1976829"/>
                <a:gd name="connsiteX139" fmla="*/ 1026658 w 4409314"/>
                <a:gd name="connsiteY139" fmla="*/ 5 h 197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4409314" h="1976829">
                  <a:moveTo>
                    <a:pt x="617866" y="1847964"/>
                  </a:moveTo>
                  <a:lnTo>
                    <a:pt x="1656686" y="1847964"/>
                  </a:lnTo>
                  <a:lnTo>
                    <a:pt x="1630805" y="1869903"/>
                  </a:lnTo>
                  <a:lnTo>
                    <a:pt x="1548294" y="1919224"/>
                  </a:lnTo>
                  <a:lnTo>
                    <a:pt x="532133" y="1919224"/>
                  </a:lnTo>
                  <a:close/>
                  <a:moveTo>
                    <a:pt x="411164" y="1847964"/>
                  </a:moveTo>
                  <a:lnTo>
                    <a:pt x="521128" y="1847964"/>
                  </a:lnTo>
                  <a:lnTo>
                    <a:pt x="469833" y="1890600"/>
                  </a:lnTo>
                  <a:lnTo>
                    <a:pt x="465804" y="1888211"/>
                  </a:lnTo>
                  <a:close/>
                  <a:moveTo>
                    <a:pt x="1812684" y="1623030"/>
                  </a:moveTo>
                  <a:lnTo>
                    <a:pt x="1897391" y="1623030"/>
                  </a:lnTo>
                  <a:lnTo>
                    <a:pt x="1832376" y="1688045"/>
                  </a:lnTo>
                  <a:close/>
                  <a:moveTo>
                    <a:pt x="714391" y="1623030"/>
                  </a:moveTo>
                  <a:lnTo>
                    <a:pt x="848230" y="1623030"/>
                  </a:lnTo>
                  <a:lnTo>
                    <a:pt x="850522" y="1624012"/>
                  </a:lnTo>
                  <a:cubicBezTo>
                    <a:pt x="975153" y="1666028"/>
                    <a:pt x="1110303" y="1667741"/>
                    <a:pt x="1235620" y="1629127"/>
                  </a:cubicBezTo>
                  <a:lnTo>
                    <a:pt x="1250948" y="1623030"/>
                  </a:lnTo>
                  <a:lnTo>
                    <a:pt x="1748075" y="1623030"/>
                  </a:lnTo>
                  <a:lnTo>
                    <a:pt x="1769658" y="1694290"/>
                  </a:lnTo>
                  <a:lnTo>
                    <a:pt x="710414" y="1694290"/>
                  </a:lnTo>
                  <a:close/>
                  <a:moveTo>
                    <a:pt x="193614" y="1623030"/>
                  </a:moveTo>
                  <a:lnTo>
                    <a:pt x="652459" y="1623030"/>
                  </a:lnTo>
                  <a:lnTo>
                    <a:pt x="648481" y="1694290"/>
                  </a:lnTo>
                  <a:lnTo>
                    <a:pt x="249639" y="1694290"/>
                  </a:lnTo>
                  <a:lnTo>
                    <a:pt x="216659" y="1656898"/>
                  </a:lnTo>
                  <a:close/>
                  <a:moveTo>
                    <a:pt x="2885151" y="1442420"/>
                  </a:moveTo>
                  <a:lnTo>
                    <a:pt x="2916912" y="1474181"/>
                  </a:lnTo>
                  <a:cubicBezTo>
                    <a:pt x="3160897" y="1718166"/>
                    <a:pt x="3556951" y="1717691"/>
                    <a:pt x="3801523" y="1473119"/>
                  </a:cubicBezTo>
                  <a:lnTo>
                    <a:pt x="3808160" y="1465823"/>
                  </a:lnTo>
                  <a:lnTo>
                    <a:pt x="3887601" y="1682986"/>
                  </a:lnTo>
                  <a:lnTo>
                    <a:pt x="4091154" y="1768698"/>
                  </a:lnTo>
                  <a:lnTo>
                    <a:pt x="4027034" y="1826689"/>
                  </a:lnTo>
                  <a:cubicBezTo>
                    <a:pt x="3951005" y="1888777"/>
                    <a:pt x="3868259" y="1938459"/>
                    <a:pt x="3781509" y="1975727"/>
                  </a:cubicBezTo>
                  <a:lnTo>
                    <a:pt x="3778585" y="1976829"/>
                  </a:lnTo>
                  <a:lnTo>
                    <a:pt x="3721100" y="1888061"/>
                  </a:lnTo>
                  <a:lnTo>
                    <a:pt x="3721100" y="1919224"/>
                  </a:lnTo>
                  <a:lnTo>
                    <a:pt x="2856394" y="1919224"/>
                  </a:lnTo>
                  <a:lnTo>
                    <a:pt x="2799598" y="1884565"/>
                  </a:lnTo>
                  <a:lnTo>
                    <a:pt x="2750695" y="1847964"/>
                  </a:lnTo>
                  <a:lnTo>
                    <a:pt x="3069147" y="1847964"/>
                  </a:lnTo>
                  <a:lnTo>
                    <a:pt x="3069147" y="1879127"/>
                  </a:lnTo>
                  <a:lnTo>
                    <a:pt x="3139086" y="1771127"/>
                  </a:lnTo>
                  <a:lnTo>
                    <a:pt x="3069147" y="1663127"/>
                  </a:lnTo>
                  <a:lnTo>
                    <a:pt x="3069147" y="1694290"/>
                  </a:lnTo>
                  <a:lnTo>
                    <a:pt x="2655051" y="1694290"/>
                  </a:lnTo>
                  <a:lnTo>
                    <a:pt x="2704570" y="1530797"/>
                  </a:lnTo>
                  <a:close/>
                  <a:moveTo>
                    <a:pt x="1529222" y="1437362"/>
                  </a:moveTo>
                  <a:lnTo>
                    <a:pt x="1594596" y="1469356"/>
                  </a:lnTo>
                  <a:lnTo>
                    <a:pt x="1497229" y="1469356"/>
                  </a:lnTo>
                  <a:close/>
                  <a:moveTo>
                    <a:pt x="77511" y="1398096"/>
                  </a:moveTo>
                  <a:lnTo>
                    <a:pt x="549520" y="1398096"/>
                  </a:lnTo>
                  <a:lnTo>
                    <a:pt x="604869" y="1469356"/>
                  </a:lnTo>
                  <a:lnTo>
                    <a:pt x="108706" y="1469356"/>
                  </a:lnTo>
                  <a:close/>
                  <a:moveTo>
                    <a:pt x="22992" y="813894"/>
                  </a:moveTo>
                  <a:lnTo>
                    <a:pt x="78015" y="846994"/>
                  </a:lnTo>
                  <a:lnTo>
                    <a:pt x="93133" y="854551"/>
                  </a:lnTo>
                  <a:lnTo>
                    <a:pt x="256998" y="954027"/>
                  </a:lnTo>
                  <a:lnTo>
                    <a:pt x="437118" y="905176"/>
                  </a:lnTo>
                  <a:lnTo>
                    <a:pt x="435358" y="911138"/>
                  </a:lnTo>
                  <a:cubicBezTo>
                    <a:pt x="416393" y="1009685"/>
                    <a:pt x="421287" y="1111965"/>
                    <a:pt x="450029" y="1208717"/>
                  </a:cubicBezTo>
                  <a:lnTo>
                    <a:pt x="465606" y="1244422"/>
                  </a:lnTo>
                  <a:lnTo>
                    <a:pt x="48622" y="1244422"/>
                  </a:lnTo>
                  <a:lnTo>
                    <a:pt x="48622" y="1213259"/>
                  </a:lnTo>
                  <a:lnTo>
                    <a:pt x="29919" y="1242141"/>
                  </a:lnTo>
                  <a:lnTo>
                    <a:pt x="1334" y="1076061"/>
                  </a:lnTo>
                  <a:cubicBezTo>
                    <a:pt x="-2845" y="993766"/>
                    <a:pt x="2794" y="911120"/>
                    <a:pt x="18255" y="830029"/>
                  </a:cubicBezTo>
                  <a:close/>
                  <a:moveTo>
                    <a:pt x="4120481" y="311098"/>
                  </a:moveTo>
                  <a:lnTo>
                    <a:pt x="4180368" y="377396"/>
                  </a:lnTo>
                  <a:cubicBezTo>
                    <a:pt x="4488488" y="755649"/>
                    <a:pt x="4485432" y="1303744"/>
                    <a:pt x="4172236" y="1682389"/>
                  </a:cubicBezTo>
                  <a:lnTo>
                    <a:pt x="4137129" y="1720963"/>
                  </a:lnTo>
                  <a:lnTo>
                    <a:pt x="3936420" y="1636449"/>
                  </a:lnTo>
                  <a:lnTo>
                    <a:pt x="3854367" y="1412145"/>
                  </a:lnTo>
                  <a:lnTo>
                    <a:pt x="3877448" y="1381384"/>
                  </a:lnTo>
                  <a:cubicBezTo>
                    <a:pt x="4031140" y="1155054"/>
                    <a:pt x="4020547" y="850727"/>
                    <a:pt x="3845469" y="635963"/>
                  </a:cubicBezTo>
                  <a:lnTo>
                    <a:pt x="3814483" y="601673"/>
                  </a:lnTo>
                  <a:lnTo>
                    <a:pt x="4025702" y="527718"/>
                  </a:lnTo>
                  <a:close/>
                  <a:moveTo>
                    <a:pt x="1581310" y="163990"/>
                  </a:moveTo>
                  <a:lnTo>
                    <a:pt x="1593808" y="171400"/>
                  </a:lnTo>
                  <a:cubicBezTo>
                    <a:pt x="1651025" y="209277"/>
                    <a:pt x="1705334" y="253429"/>
                    <a:pt x="1755758" y="303853"/>
                  </a:cubicBezTo>
                  <a:lnTo>
                    <a:pt x="2204657" y="752751"/>
                  </a:lnTo>
                  <a:lnTo>
                    <a:pt x="2653556" y="303853"/>
                  </a:lnTo>
                  <a:cubicBezTo>
                    <a:pt x="2703980" y="253429"/>
                    <a:pt x="2758289" y="209277"/>
                    <a:pt x="2815507" y="171400"/>
                  </a:cubicBezTo>
                  <a:lnTo>
                    <a:pt x="2825493" y="165479"/>
                  </a:lnTo>
                  <a:lnTo>
                    <a:pt x="2975440" y="293068"/>
                  </a:lnTo>
                  <a:lnTo>
                    <a:pt x="2985993" y="531522"/>
                  </a:lnTo>
                  <a:lnTo>
                    <a:pt x="2965533" y="546574"/>
                  </a:lnTo>
                  <a:cubicBezTo>
                    <a:pt x="2949138" y="559953"/>
                    <a:pt x="2933261" y="574285"/>
                    <a:pt x="2917975" y="589571"/>
                  </a:cubicBezTo>
                  <a:lnTo>
                    <a:pt x="2479725" y="1027820"/>
                  </a:lnTo>
                  <a:lnTo>
                    <a:pt x="2486163" y="1034258"/>
                  </a:lnTo>
                  <a:lnTo>
                    <a:pt x="2481576" y="1038845"/>
                  </a:lnTo>
                  <a:lnTo>
                    <a:pt x="2838929" y="1396198"/>
                  </a:lnTo>
                  <a:lnTo>
                    <a:pt x="2653197" y="1487096"/>
                  </a:lnTo>
                  <a:lnTo>
                    <a:pt x="2590442" y="1694290"/>
                  </a:lnTo>
                  <a:lnTo>
                    <a:pt x="2583183" y="1694290"/>
                  </a:lnTo>
                  <a:lnTo>
                    <a:pt x="2464988" y="1576095"/>
                  </a:lnTo>
                  <a:lnTo>
                    <a:pt x="2484352" y="1546193"/>
                  </a:lnTo>
                  <a:lnTo>
                    <a:pt x="2414413" y="1438193"/>
                  </a:lnTo>
                  <a:lnTo>
                    <a:pt x="2414413" y="1469356"/>
                  </a:lnTo>
                  <a:lnTo>
                    <a:pt x="2358249" y="1469356"/>
                  </a:lnTo>
                  <a:lnTo>
                    <a:pt x="2204657" y="1315764"/>
                  </a:lnTo>
                  <a:lnTo>
                    <a:pt x="2051065" y="1469356"/>
                  </a:lnTo>
                  <a:lnTo>
                    <a:pt x="1735264" y="1469356"/>
                  </a:lnTo>
                  <a:lnTo>
                    <a:pt x="1575445" y="1391140"/>
                  </a:lnTo>
                  <a:lnTo>
                    <a:pt x="1927739" y="1038845"/>
                  </a:lnTo>
                  <a:lnTo>
                    <a:pt x="1923151" y="1034258"/>
                  </a:lnTo>
                  <a:lnTo>
                    <a:pt x="1929589" y="1027820"/>
                  </a:lnTo>
                  <a:lnTo>
                    <a:pt x="1491340" y="589571"/>
                  </a:lnTo>
                  <a:cubicBezTo>
                    <a:pt x="1476054" y="574286"/>
                    <a:pt x="1460177" y="559953"/>
                    <a:pt x="1443782" y="546574"/>
                  </a:cubicBezTo>
                  <a:lnTo>
                    <a:pt x="1407309" y="519740"/>
                  </a:lnTo>
                  <a:lnTo>
                    <a:pt x="1421138" y="295547"/>
                  </a:lnTo>
                  <a:close/>
                  <a:moveTo>
                    <a:pt x="3382657" y="5"/>
                  </a:moveTo>
                  <a:cubicBezTo>
                    <a:pt x="3613262" y="-700"/>
                    <a:pt x="3843633" y="75571"/>
                    <a:pt x="4031919" y="228947"/>
                  </a:cubicBezTo>
                  <a:lnTo>
                    <a:pt x="4072780" y="265857"/>
                  </a:lnTo>
                  <a:lnTo>
                    <a:pt x="3979847" y="478257"/>
                  </a:lnTo>
                  <a:lnTo>
                    <a:pt x="3764153" y="553778"/>
                  </a:lnTo>
                  <a:lnTo>
                    <a:pt x="3755131" y="545625"/>
                  </a:lnTo>
                  <a:cubicBezTo>
                    <a:pt x="3640590" y="452251"/>
                    <a:pt x="3500574" y="405662"/>
                    <a:pt x="3360500" y="405830"/>
                  </a:cubicBezTo>
                  <a:cubicBezTo>
                    <a:pt x="3260448" y="405951"/>
                    <a:pt x="3160368" y="429926"/>
                    <a:pt x="3069522" y="477746"/>
                  </a:cubicBezTo>
                  <a:lnTo>
                    <a:pt x="3046122" y="491592"/>
                  </a:lnTo>
                  <a:lnTo>
                    <a:pt x="3036025" y="263427"/>
                  </a:lnTo>
                  <a:lnTo>
                    <a:pt x="2881727" y="132137"/>
                  </a:lnTo>
                  <a:lnTo>
                    <a:pt x="2903394" y="119290"/>
                  </a:lnTo>
                  <a:cubicBezTo>
                    <a:pt x="3053101" y="40286"/>
                    <a:pt x="3217939" y="509"/>
                    <a:pt x="3382657" y="5"/>
                  </a:cubicBezTo>
                  <a:close/>
                  <a:moveTo>
                    <a:pt x="1026658" y="5"/>
                  </a:moveTo>
                  <a:cubicBezTo>
                    <a:pt x="1191376" y="509"/>
                    <a:pt x="1356214" y="40286"/>
                    <a:pt x="1505921" y="119290"/>
                  </a:cubicBezTo>
                  <a:lnTo>
                    <a:pt x="1524730" y="130442"/>
                  </a:lnTo>
                  <a:lnTo>
                    <a:pt x="1361078" y="264858"/>
                  </a:lnTo>
                  <a:lnTo>
                    <a:pt x="1347659" y="482401"/>
                  </a:lnTo>
                  <a:lnTo>
                    <a:pt x="1339793" y="477746"/>
                  </a:lnTo>
                  <a:cubicBezTo>
                    <a:pt x="1248947" y="429926"/>
                    <a:pt x="1148866" y="405950"/>
                    <a:pt x="1048814" y="405830"/>
                  </a:cubicBezTo>
                  <a:cubicBezTo>
                    <a:pt x="888731" y="405638"/>
                    <a:pt x="728721" y="466516"/>
                    <a:pt x="606728" y="588508"/>
                  </a:cubicBezTo>
                  <a:cubicBezTo>
                    <a:pt x="545732" y="649504"/>
                    <a:pt x="500015" y="720004"/>
                    <a:pt x="469570" y="795267"/>
                  </a:cubicBezTo>
                  <a:lnTo>
                    <a:pt x="457682" y="835530"/>
                  </a:lnTo>
                  <a:lnTo>
                    <a:pt x="266806" y="887298"/>
                  </a:lnTo>
                  <a:lnTo>
                    <a:pt x="44882" y="749174"/>
                  </a:lnTo>
                  <a:lnTo>
                    <a:pt x="44127" y="751686"/>
                  </a:lnTo>
                  <a:lnTo>
                    <a:pt x="41683" y="750225"/>
                  </a:lnTo>
                  <a:lnTo>
                    <a:pt x="74226" y="639373"/>
                  </a:lnTo>
                  <a:cubicBezTo>
                    <a:pt x="124117" y="515560"/>
                    <a:pt x="199167" y="399633"/>
                    <a:pt x="299400" y="299400"/>
                  </a:cubicBezTo>
                  <a:cubicBezTo>
                    <a:pt x="499867" y="98934"/>
                    <a:pt x="763108" y="-801"/>
                    <a:pt x="1026658" y="5"/>
                  </a:cubicBezTo>
                  <a:close/>
                </a:path>
              </a:pathLst>
            </a:custGeom>
            <a:solidFill>
              <a:sysClr val="window" lastClr="FFFFFF">
                <a:alpha val="10000"/>
              </a:sysClr>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black"/>
                </a:solidFill>
                <a:effectLst/>
                <a:uLnTx/>
                <a:uFillTx/>
                <a:latin typeface="Nokia Pure Headline Light"/>
                <a:ea typeface="+mn-ea"/>
                <a:cs typeface="+mn-cs"/>
              </a:endParaRPr>
            </a:p>
          </p:txBody>
        </p:sp>
        <p:grpSp>
          <p:nvGrpSpPr>
            <p:cNvPr id="305" name="Gruppieren 118"/>
            <p:cNvGrpSpPr/>
            <p:nvPr/>
          </p:nvGrpSpPr>
          <p:grpSpPr>
            <a:xfrm>
              <a:off x="2325445" y="2111850"/>
              <a:ext cx="4467090" cy="285641"/>
              <a:chOff x="2325445" y="2507886"/>
              <a:chExt cx="4467090" cy="324006"/>
            </a:xfrm>
            <a:solidFill>
              <a:srgbClr val="A5A5A5">
                <a:alpha val="70000"/>
              </a:srgbClr>
            </a:solidFill>
          </p:grpSpPr>
          <p:sp>
            <p:nvSpPr>
              <p:cNvPr id="331" name="TextBox 125"/>
              <p:cNvSpPr txBox="1"/>
              <p:nvPr/>
            </p:nvSpPr>
            <p:spPr>
              <a:xfrm>
                <a:off x="2325445" y="2507886"/>
                <a:ext cx="576000" cy="323999"/>
              </a:xfrm>
              <a:prstGeom prst="rect">
                <a:avLst/>
              </a:prstGeom>
              <a:grpFill/>
            </p:spPr>
            <p:txBody>
              <a:bodyPr wrap="none" lIns="36000" tIns="36000" rIns="36000" bIns="3600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Nokia Pure Text"/>
                    <a:ea typeface="+mn-ea"/>
                    <a:cs typeface="+mn-cs"/>
                  </a:rPr>
                  <a:t>PLAN</a:t>
                </a:r>
              </a:p>
            </p:txBody>
          </p:sp>
          <p:sp>
            <p:nvSpPr>
              <p:cNvPr id="332" name="TextBox 126"/>
              <p:cNvSpPr txBox="1"/>
              <p:nvPr/>
            </p:nvSpPr>
            <p:spPr>
              <a:xfrm>
                <a:off x="2973581" y="2507888"/>
                <a:ext cx="576000" cy="324000"/>
              </a:xfrm>
              <a:prstGeom prst="rect">
                <a:avLst/>
              </a:prstGeom>
              <a:grpFill/>
            </p:spPr>
            <p:txBody>
              <a:bodyPr wrap="none" lIns="36000" tIns="36000" rIns="36000" bIns="3600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Nokia Pure Text"/>
                    <a:ea typeface="+mn-ea"/>
                    <a:cs typeface="+mn-cs"/>
                  </a:rPr>
                  <a:t>CODE</a:t>
                </a:r>
              </a:p>
            </p:txBody>
          </p:sp>
          <p:sp>
            <p:nvSpPr>
              <p:cNvPr id="333" name="TextBox 127"/>
              <p:cNvSpPr txBox="1"/>
              <p:nvPr/>
            </p:nvSpPr>
            <p:spPr>
              <a:xfrm>
                <a:off x="3614457" y="2507890"/>
                <a:ext cx="576000" cy="324000"/>
              </a:xfrm>
              <a:prstGeom prst="rect">
                <a:avLst/>
              </a:prstGeom>
              <a:grpFill/>
            </p:spPr>
            <p:txBody>
              <a:bodyPr wrap="none" lIns="36000" tIns="36000" rIns="36000" bIns="3600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Nokia Pure Text"/>
                    <a:ea typeface="+mn-ea"/>
                    <a:cs typeface="+mn-cs"/>
                  </a:rPr>
                  <a:t>BUILD</a:t>
                </a:r>
              </a:p>
            </p:txBody>
          </p:sp>
          <p:sp>
            <p:nvSpPr>
              <p:cNvPr id="334" name="TextBox 128"/>
              <p:cNvSpPr txBox="1"/>
              <p:nvPr/>
            </p:nvSpPr>
            <p:spPr>
              <a:xfrm>
                <a:off x="4255114" y="2507892"/>
                <a:ext cx="576000" cy="324000"/>
              </a:xfrm>
              <a:prstGeom prst="rect">
                <a:avLst/>
              </a:prstGeom>
              <a:grpFill/>
            </p:spPr>
            <p:txBody>
              <a:bodyPr wrap="none" lIns="36000" tIns="36000" rIns="36000" bIns="3600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Nokia Pure Text"/>
                    <a:ea typeface="+mn-ea"/>
                    <a:cs typeface="+mn-cs"/>
                  </a:rPr>
                  <a:t>TEST</a:t>
                </a:r>
              </a:p>
            </p:txBody>
          </p:sp>
          <p:sp>
            <p:nvSpPr>
              <p:cNvPr id="335" name="TextBox 132"/>
              <p:cNvSpPr txBox="1"/>
              <p:nvPr/>
            </p:nvSpPr>
            <p:spPr>
              <a:xfrm>
                <a:off x="4909848" y="2507892"/>
                <a:ext cx="576000" cy="324000"/>
              </a:xfrm>
              <a:prstGeom prst="rect">
                <a:avLst/>
              </a:prstGeom>
              <a:grpFill/>
            </p:spPr>
            <p:txBody>
              <a:bodyPr wrap="none" lIns="36000" tIns="36000" rIns="36000" bIns="3600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Nokia Pure Text"/>
                    <a:ea typeface="+mn-ea"/>
                    <a:cs typeface="+mn-cs"/>
                  </a:rPr>
                  <a:t>RELEASE</a:t>
                </a:r>
              </a:p>
            </p:txBody>
          </p:sp>
          <p:sp>
            <p:nvSpPr>
              <p:cNvPr id="336" name="TextBox 134"/>
              <p:cNvSpPr txBox="1"/>
              <p:nvPr/>
            </p:nvSpPr>
            <p:spPr>
              <a:xfrm>
                <a:off x="6216535" y="2507892"/>
                <a:ext cx="576000" cy="324000"/>
              </a:xfrm>
              <a:prstGeom prst="rect">
                <a:avLst/>
              </a:prstGeom>
              <a:grpFill/>
            </p:spPr>
            <p:txBody>
              <a:bodyPr wrap="none" lIns="36000" tIns="36000" rIns="36000" bIns="3600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Nokia Pure Text"/>
                    <a:ea typeface="+mn-ea"/>
                    <a:cs typeface="+mn-cs"/>
                  </a:rPr>
                  <a:t>OPERATE</a:t>
                </a:r>
              </a:p>
            </p:txBody>
          </p:sp>
          <p:sp>
            <p:nvSpPr>
              <p:cNvPr id="337" name="TextBox 135"/>
              <p:cNvSpPr txBox="1"/>
              <p:nvPr/>
            </p:nvSpPr>
            <p:spPr>
              <a:xfrm>
                <a:off x="5561801" y="2507892"/>
                <a:ext cx="576000" cy="324000"/>
              </a:xfrm>
              <a:prstGeom prst="rect">
                <a:avLst/>
              </a:prstGeom>
              <a:grpFill/>
            </p:spPr>
            <p:txBody>
              <a:bodyPr wrap="none" lIns="36000" tIns="36000" rIns="36000" bIns="3600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Nokia Pure Text"/>
                    <a:ea typeface="+mn-ea"/>
                    <a:cs typeface="+mn-cs"/>
                  </a:rPr>
                  <a:t>DEPLOY</a:t>
                </a:r>
              </a:p>
            </p:txBody>
          </p:sp>
        </p:grpSp>
        <p:grpSp>
          <p:nvGrpSpPr>
            <p:cNvPr id="306" name="Gruppieren 71"/>
            <p:cNvGrpSpPr/>
            <p:nvPr/>
          </p:nvGrpSpPr>
          <p:grpSpPr>
            <a:xfrm>
              <a:off x="2733415" y="1415862"/>
              <a:ext cx="297624" cy="393179"/>
              <a:chOff x="2978017" y="1098236"/>
              <a:chExt cx="297624" cy="393179"/>
            </a:xfrm>
            <a:solidFill>
              <a:srgbClr val="5B9BD5">
                <a:alpha val="0"/>
              </a:srgbClr>
            </a:solidFill>
          </p:grpSpPr>
          <p:sp>
            <p:nvSpPr>
              <p:cNvPr id="324" name="Rechteck 65"/>
              <p:cNvSpPr/>
              <p:nvPr/>
            </p:nvSpPr>
            <p:spPr>
              <a:xfrm>
                <a:off x="3167844" y="1383618"/>
                <a:ext cx="107797" cy="107797"/>
              </a:xfrm>
              <a:prstGeom prst="rect">
                <a:avLst/>
              </a:prstGeom>
              <a:grpFill/>
              <a:ln w="635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white"/>
                  </a:solidFill>
                  <a:effectLst/>
                  <a:uLnTx/>
                  <a:uFillTx/>
                  <a:latin typeface="Nokia Pure Headline Light"/>
                  <a:ea typeface=""/>
                  <a:cs typeface=""/>
                </a:endParaRPr>
              </a:p>
            </p:txBody>
          </p:sp>
          <p:sp>
            <p:nvSpPr>
              <p:cNvPr id="325" name="Rechteck 66"/>
              <p:cNvSpPr/>
              <p:nvPr/>
            </p:nvSpPr>
            <p:spPr>
              <a:xfrm>
                <a:off x="3167844" y="1326540"/>
                <a:ext cx="107797" cy="107797"/>
              </a:xfrm>
              <a:prstGeom prst="rect">
                <a:avLst/>
              </a:prstGeom>
              <a:grpFill/>
              <a:ln w="635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white"/>
                  </a:solidFill>
                  <a:effectLst/>
                  <a:uLnTx/>
                  <a:uFillTx/>
                  <a:latin typeface="Nokia Pure Headline Light"/>
                  <a:ea typeface=""/>
                  <a:cs typeface=""/>
                </a:endParaRPr>
              </a:p>
            </p:txBody>
          </p:sp>
          <p:sp>
            <p:nvSpPr>
              <p:cNvPr id="326" name="Rechteck 67"/>
              <p:cNvSpPr/>
              <p:nvPr/>
            </p:nvSpPr>
            <p:spPr>
              <a:xfrm>
                <a:off x="3167844" y="1269464"/>
                <a:ext cx="107797" cy="107797"/>
              </a:xfrm>
              <a:prstGeom prst="rect">
                <a:avLst/>
              </a:prstGeom>
              <a:grpFill/>
              <a:ln w="635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white"/>
                  </a:solidFill>
                  <a:effectLst/>
                  <a:uLnTx/>
                  <a:uFillTx/>
                  <a:latin typeface="Nokia Pure Headline Light"/>
                  <a:ea typeface=""/>
                  <a:cs typeface=""/>
                </a:endParaRPr>
              </a:p>
            </p:txBody>
          </p:sp>
          <p:sp>
            <p:nvSpPr>
              <p:cNvPr id="327" name="Rechteck 68"/>
              <p:cNvSpPr/>
              <p:nvPr/>
            </p:nvSpPr>
            <p:spPr>
              <a:xfrm>
                <a:off x="3167844" y="1212388"/>
                <a:ext cx="107797" cy="107797"/>
              </a:xfrm>
              <a:prstGeom prst="rect">
                <a:avLst/>
              </a:prstGeom>
              <a:grpFill/>
              <a:ln w="635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white"/>
                  </a:solidFill>
                  <a:effectLst/>
                  <a:uLnTx/>
                  <a:uFillTx/>
                  <a:latin typeface="Nokia Pure Headline Light"/>
                  <a:ea typeface=""/>
                  <a:cs typeface=""/>
                </a:endParaRPr>
              </a:p>
            </p:txBody>
          </p:sp>
          <p:sp>
            <p:nvSpPr>
              <p:cNvPr id="328" name="Rechteck 69"/>
              <p:cNvSpPr/>
              <p:nvPr/>
            </p:nvSpPr>
            <p:spPr>
              <a:xfrm>
                <a:off x="3167844" y="1155312"/>
                <a:ext cx="107797" cy="107797"/>
              </a:xfrm>
              <a:prstGeom prst="rect">
                <a:avLst/>
              </a:prstGeom>
              <a:grpFill/>
              <a:ln w="635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white"/>
                  </a:solidFill>
                  <a:effectLst/>
                  <a:uLnTx/>
                  <a:uFillTx/>
                  <a:latin typeface="Nokia Pure Headline Light"/>
                  <a:ea typeface=""/>
                  <a:cs typeface=""/>
                </a:endParaRPr>
              </a:p>
            </p:txBody>
          </p:sp>
          <p:sp>
            <p:nvSpPr>
              <p:cNvPr id="329" name="Rechteck 70"/>
              <p:cNvSpPr/>
              <p:nvPr/>
            </p:nvSpPr>
            <p:spPr>
              <a:xfrm>
                <a:off x="3167844" y="1098236"/>
                <a:ext cx="107797" cy="107797"/>
              </a:xfrm>
              <a:prstGeom prst="rect">
                <a:avLst/>
              </a:prstGeom>
              <a:grpFill/>
              <a:ln w="635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white"/>
                  </a:solidFill>
                  <a:effectLst/>
                  <a:uLnTx/>
                  <a:uFillTx/>
                  <a:latin typeface="Nokia Pure Headline Light"/>
                  <a:ea typeface=""/>
                  <a:cs typeface=""/>
                </a:endParaRPr>
              </a:p>
            </p:txBody>
          </p:sp>
          <p:sp>
            <p:nvSpPr>
              <p:cNvPr id="330" name="Rechteck 134"/>
              <p:cNvSpPr/>
              <p:nvPr/>
            </p:nvSpPr>
            <p:spPr>
              <a:xfrm>
                <a:off x="2978017" y="1246227"/>
                <a:ext cx="107797" cy="107797"/>
              </a:xfrm>
              <a:prstGeom prst="rect">
                <a:avLst/>
              </a:prstGeom>
              <a:grpFill/>
              <a:ln w="635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white"/>
                  </a:solidFill>
                  <a:effectLst/>
                  <a:uLnTx/>
                  <a:uFillTx/>
                  <a:latin typeface="Nokia Pure Headline Light"/>
                  <a:ea typeface=""/>
                  <a:cs typeface=""/>
                </a:endParaRPr>
              </a:p>
            </p:txBody>
          </p:sp>
        </p:grpSp>
        <p:sp>
          <p:nvSpPr>
            <p:cNvPr id="307" name="Pfeil: nach links und rechts 80"/>
            <p:cNvSpPr/>
            <p:nvPr/>
          </p:nvSpPr>
          <p:spPr>
            <a:xfrm>
              <a:off x="2325445" y="2442914"/>
              <a:ext cx="1604211" cy="216000"/>
            </a:xfrm>
            <a:prstGeom prst="leftRightArrow">
              <a:avLst>
                <a:gd name="adj1" fmla="val 100000"/>
                <a:gd name="adj2" fmla="val 49027"/>
              </a:avLst>
            </a:prstGeom>
            <a:solidFill>
              <a:sysClr val="window" lastClr="FFFFFF"/>
            </a:solidFill>
            <a:ln w="6350" cap="flat" cmpd="sng" algn="ctr">
              <a:noFill/>
              <a:prstDash val="solid"/>
              <a:miter lim="800000"/>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1135">
                      <a:alpha val="70000"/>
                    </a:srgbClr>
                  </a:solidFill>
                  <a:effectLst/>
                  <a:uLnTx/>
                  <a:uFillTx/>
                  <a:latin typeface="Nokia Pure Headline Light"/>
                  <a:ea typeface=""/>
                  <a:cs typeface=""/>
                </a:rPr>
                <a:t>Agile development</a:t>
              </a:r>
            </a:p>
          </p:txBody>
        </p:sp>
        <p:sp>
          <p:nvSpPr>
            <p:cNvPr id="308" name="Pfeil: nach links und rechts 81"/>
            <p:cNvSpPr/>
            <p:nvPr/>
          </p:nvSpPr>
          <p:spPr>
            <a:xfrm>
              <a:off x="2325445" y="2676838"/>
              <a:ext cx="2505669" cy="216000"/>
            </a:xfrm>
            <a:prstGeom prst="leftRightArrow">
              <a:avLst>
                <a:gd name="adj1" fmla="val 100000"/>
                <a:gd name="adj2" fmla="val 53784"/>
              </a:avLst>
            </a:prstGeom>
            <a:solidFill>
              <a:sysClr val="window" lastClr="FFFFFF"/>
            </a:solidFill>
            <a:ln w="6350" cap="flat" cmpd="sng" algn="ctr">
              <a:noFill/>
              <a:prstDash val="solid"/>
              <a:miter lim="800000"/>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1135">
                      <a:alpha val="70000"/>
                    </a:srgbClr>
                  </a:solidFill>
                  <a:effectLst/>
                  <a:uLnTx/>
                  <a:uFillTx/>
                  <a:latin typeface="Nokia Pure Headline Light"/>
                  <a:ea typeface=""/>
                  <a:cs typeface=""/>
                </a:rPr>
                <a:t>Continuous integration</a:t>
              </a:r>
            </a:p>
          </p:txBody>
        </p:sp>
        <p:sp>
          <p:nvSpPr>
            <p:cNvPr id="309" name="Pfeil: nach links und rechts 82"/>
            <p:cNvSpPr/>
            <p:nvPr/>
          </p:nvSpPr>
          <p:spPr>
            <a:xfrm>
              <a:off x="2325445" y="2910762"/>
              <a:ext cx="3160403" cy="216000"/>
            </a:xfrm>
            <a:prstGeom prst="leftRightArrow">
              <a:avLst>
                <a:gd name="adj1" fmla="val 100000"/>
                <a:gd name="adj2" fmla="val 56162"/>
              </a:avLst>
            </a:prstGeom>
            <a:solidFill>
              <a:sysClr val="window" lastClr="FFFFFF"/>
            </a:solidFill>
            <a:ln w="6350" cap="flat" cmpd="sng" algn="ctr">
              <a:noFill/>
              <a:prstDash val="solid"/>
              <a:miter lim="800000"/>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1135">
                      <a:alpha val="70000"/>
                    </a:srgbClr>
                  </a:solidFill>
                  <a:effectLst/>
                  <a:uLnTx/>
                  <a:uFillTx/>
                  <a:latin typeface="Nokia Pure Headline Light"/>
                  <a:ea typeface=""/>
                  <a:cs typeface=""/>
                </a:rPr>
                <a:t>Continuous delivery</a:t>
              </a:r>
            </a:p>
          </p:txBody>
        </p:sp>
        <p:sp>
          <p:nvSpPr>
            <p:cNvPr id="310" name="Pfeil: nach links und rechts 83"/>
            <p:cNvSpPr/>
            <p:nvPr/>
          </p:nvSpPr>
          <p:spPr>
            <a:xfrm>
              <a:off x="2325445" y="3144686"/>
              <a:ext cx="3812356" cy="216000"/>
            </a:xfrm>
            <a:prstGeom prst="leftRightArrow">
              <a:avLst>
                <a:gd name="adj1" fmla="val 100000"/>
                <a:gd name="adj2" fmla="val 56162"/>
              </a:avLst>
            </a:prstGeom>
            <a:solidFill>
              <a:sysClr val="window" lastClr="FFFFFF"/>
            </a:solidFill>
            <a:ln w="6350" cap="flat" cmpd="sng" algn="ctr">
              <a:noFill/>
              <a:prstDash val="solid"/>
              <a:miter lim="800000"/>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1135">
                      <a:alpha val="70000"/>
                    </a:srgbClr>
                  </a:solidFill>
                  <a:effectLst/>
                  <a:uLnTx/>
                  <a:uFillTx/>
                  <a:latin typeface="Nokia Pure Headline Light"/>
                  <a:ea typeface=""/>
                  <a:cs typeface=""/>
                </a:rPr>
                <a:t>Continuous deployment</a:t>
              </a:r>
            </a:p>
          </p:txBody>
        </p:sp>
        <p:sp>
          <p:nvSpPr>
            <p:cNvPr id="311" name="Pfeil: nach links und rechts 84"/>
            <p:cNvSpPr/>
            <p:nvPr/>
          </p:nvSpPr>
          <p:spPr>
            <a:xfrm>
              <a:off x="2325444" y="3378611"/>
              <a:ext cx="4467091" cy="216000"/>
            </a:xfrm>
            <a:prstGeom prst="leftRightArrow">
              <a:avLst>
                <a:gd name="adj1" fmla="val 100000"/>
                <a:gd name="adj2" fmla="val 51405"/>
              </a:avLst>
            </a:prstGeom>
            <a:solidFill>
              <a:srgbClr val="00B0F0"/>
            </a:solidFill>
            <a:ln w="6350" cap="flat" cmpd="sng" algn="ctr">
              <a:noFill/>
              <a:prstDash val="solid"/>
              <a:miter lim="800000"/>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white"/>
                  </a:solidFill>
                  <a:effectLst/>
                  <a:uLnTx/>
                  <a:uFillTx/>
                  <a:latin typeface="Nokia Pure Headline Light"/>
                  <a:ea typeface=""/>
                  <a:cs typeface=""/>
                </a:rPr>
                <a:t>DevOps</a:t>
              </a:r>
            </a:p>
          </p:txBody>
        </p:sp>
        <p:grpSp>
          <p:nvGrpSpPr>
            <p:cNvPr id="312" name="Gruppieren 146"/>
            <p:cNvGrpSpPr/>
            <p:nvPr/>
          </p:nvGrpSpPr>
          <p:grpSpPr>
            <a:xfrm>
              <a:off x="2613445" y="1411237"/>
              <a:ext cx="3891090" cy="702975"/>
              <a:chOff x="2613445" y="1180876"/>
              <a:chExt cx="3891090" cy="848422"/>
            </a:xfrm>
          </p:grpSpPr>
          <p:cxnSp>
            <p:nvCxnSpPr>
              <p:cNvPr id="316" name="Verbinder: gewinkelt 90"/>
              <p:cNvCxnSpPr>
                <a:cxnSpLocks/>
              </p:cNvCxnSpPr>
              <p:nvPr/>
            </p:nvCxnSpPr>
            <p:spPr>
              <a:xfrm rot="16200000" flipV="1">
                <a:off x="4378892" y="-96345"/>
                <a:ext cx="777790" cy="3473496"/>
              </a:xfrm>
              <a:prstGeom prst="bentConnector2">
                <a:avLst/>
              </a:prstGeom>
              <a:noFill/>
              <a:ln w="12700" cap="flat" cmpd="sng" algn="ctr">
                <a:solidFill>
                  <a:srgbClr val="A5A5A5"/>
                </a:solidFill>
                <a:prstDash val="solid"/>
                <a:miter lim="800000"/>
                <a:tailEnd type="triangle" w="sm" len="sm"/>
              </a:ln>
              <a:effectLst/>
            </p:spPr>
          </p:cxnSp>
          <p:cxnSp>
            <p:nvCxnSpPr>
              <p:cNvPr id="317" name="Verbinder: gewinkelt 92"/>
              <p:cNvCxnSpPr>
                <a:cxnSpLocks/>
              </p:cNvCxnSpPr>
              <p:nvPr/>
            </p:nvCxnSpPr>
            <p:spPr>
              <a:xfrm rot="16200000" flipV="1">
                <a:off x="4087395" y="264038"/>
                <a:ext cx="706050" cy="2818762"/>
              </a:xfrm>
              <a:prstGeom prst="bentConnector2">
                <a:avLst/>
              </a:prstGeom>
              <a:noFill/>
              <a:ln w="12700" cap="flat" cmpd="sng" algn="ctr">
                <a:solidFill>
                  <a:srgbClr val="A5A5A5"/>
                </a:solidFill>
                <a:prstDash val="solid"/>
                <a:miter lim="800000"/>
                <a:tailEnd type="triangle" w="sm" len="sm"/>
              </a:ln>
              <a:effectLst/>
            </p:spPr>
          </p:cxnSp>
          <p:cxnSp>
            <p:nvCxnSpPr>
              <p:cNvPr id="318" name="Verbinder: gewinkelt 95"/>
              <p:cNvCxnSpPr>
                <a:cxnSpLocks/>
              </p:cNvCxnSpPr>
              <p:nvPr/>
            </p:nvCxnSpPr>
            <p:spPr>
              <a:xfrm rot="16200000" flipV="1">
                <a:off x="3794434" y="625883"/>
                <a:ext cx="640020" cy="2166809"/>
              </a:xfrm>
              <a:prstGeom prst="bentConnector2">
                <a:avLst/>
              </a:prstGeom>
              <a:noFill/>
              <a:ln w="12700" cap="flat" cmpd="sng" algn="ctr">
                <a:solidFill>
                  <a:srgbClr val="A5A5A5"/>
                </a:solidFill>
                <a:prstDash val="solid"/>
                <a:miter lim="800000"/>
                <a:tailEnd type="triangle" w="sm" len="sm"/>
              </a:ln>
              <a:effectLst/>
            </p:spPr>
          </p:cxnSp>
          <p:cxnSp>
            <p:nvCxnSpPr>
              <p:cNvPr id="319" name="Verbinder: gewinkelt 98"/>
              <p:cNvCxnSpPr>
                <a:cxnSpLocks/>
              </p:cNvCxnSpPr>
              <p:nvPr/>
            </p:nvCxnSpPr>
            <p:spPr>
              <a:xfrm rot="16200000" flipV="1">
                <a:off x="3501510" y="987692"/>
                <a:ext cx="571135" cy="1512075"/>
              </a:xfrm>
              <a:prstGeom prst="bentConnector2">
                <a:avLst/>
              </a:prstGeom>
              <a:noFill/>
              <a:ln w="12700" cap="flat" cmpd="sng" algn="ctr">
                <a:solidFill>
                  <a:srgbClr val="A5A5A5"/>
                </a:solidFill>
                <a:prstDash val="solid"/>
                <a:miter lim="800000"/>
                <a:tailEnd type="triangle" w="sm" len="sm"/>
              </a:ln>
              <a:effectLst/>
            </p:spPr>
          </p:cxnSp>
          <p:cxnSp>
            <p:nvCxnSpPr>
              <p:cNvPr id="320" name="Verbinder: gewinkelt 101"/>
              <p:cNvCxnSpPr>
                <a:cxnSpLocks/>
              </p:cNvCxnSpPr>
              <p:nvPr/>
            </p:nvCxnSpPr>
            <p:spPr>
              <a:xfrm rot="16200000" flipV="1">
                <a:off x="3217051" y="1341038"/>
                <a:ext cx="499395" cy="871418"/>
              </a:xfrm>
              <a:prstGeom prst="bentConnector2">
                <a:avLst/>
              </a:prstGeom>
              <a:noFill/>
              <a:ln w="12700" cap="flat" cmpd="sng" algn="ctr">
                <a:solidFill>
                  <a:srgbClr val="A5A5A5"/>
                </a:solidFill>
                <a:prstDash val="solid"/>
                <a:miter lim="800000"/>
                <a:tailEnd type="triangle" w="sm" len="sm"/>
              </a:ln>
              <a:effectLst/>
            </p:spPr>
          </p:cxnSp>
          <p:cxnSp>
            <p:nvCxnSpPr>
              <p:cNvPr id="321" name="Verbinder: gewinkelt 104"/>
              <p:cNvCxnSpPr>
                <a:cxnSpLocks/>
              </p:cNvCxnSpPr>
              <p:nvPr/>
            </p:nvCxnSpPr>
            <p:spPr>
              <a:xfrm rot="16200000" flipV="1">
                <a:off x="2931057" y="1695919"/>
                <a:ext cx="430508" cy="230542"/>
              </a:xfrm>
              <a:prstGeom prst="bentConnector2">
                <a:avLst/>
              </a:prstGeom>
              <a:noFill/>
              <a:ln w="12700" cap="flat" cmpd="sng" algn="ctr">
                <a:solidFill>
                  <a:srgbClr val="A5A5A5"/>
                </a:solidFill>
                <a:prstDash val="solid"/>
                <a:miter lim="800000"/>
                <a:tailEnd type="triangle" w="sm" len="sm"/>
              </a:ln>
              <a:effectLst/>
            </p:spPr>
          </p:cxnSp>
          <p:cxnSp>
            <p:nvCxnSpPr>
              <p:cNvPr id="322" name="Verbinder: gewinkelt 126"/>
              <p:cNvCxnSpPr>
                <a:cxnSpLocks/>
              </p:cNvCxnSpPr>
              <p:nvPr/>
            </p:nvCxnSpPr>
            <p:spPr>
              <a:xfrm rot="10800000" flipV="1">
                <a:off x="2613445" y="1430118"/>
                <a:ext cx="119970" cy="596325"/>
              </a:xfrm>
              <a:prstGeom prst="bentConnector2">
                <a:avLst/>
              </a:prstGeom>
              <a:noFill/>
              <a:ln w="12700" cap="flat" cmpd="sng" algn="ctr">
                <a:solidFill>
                  <a:srgbClr val="A5A5A5"/>
                </a:solidFill>
                <a:prstDash val="solid"/>
                <a:miter lim="800000"/>
                <a:tailEnd type="triangle" w="sm" len="sm"/>
              </a:ln>
              <a:effectLst/>
            </p:spPr>
          </p:cxnSp>
          <p:sp>
            <p:nvSpPr>
              <p:cNvPr id="323" name="Freihandform: Form 136"/>
              <p:cNvSpPr/>
              <p:nvPr/>
            </p:nvSpPr>
            <p:spPr>
              <a:xfrm>
                <a:off x="2723096" y="1180876"/>
                <a:ext cx="347923" cy="495168"/>
              </a:xfrm>
              <a:custGeom>
                <a:avLst/>
                <a:gdLst>
                  <a:gd name="connsiteX0" fmla="*/ 302419 w 302419"/>
                  <a:gd name="connsiteY0" fmla="*/ 0 h 330994"/>
                  <a:gd name="connsiteX1" fmla="*/ 0 w 302419"/>
                  <a:gd name="connsiteY1" fmla="*/ 166688 h 330994"/>
                  <a:gd name="connsiteX2" fmla="*/ 300038 w 302419"/>
                  <a:gd name="connsiteY2" fmla="*/ 330994 h 330994"/>
                </a:gdLst>
                <a:ahLst/>
                <a:cxnLst>
                  <a:cxn ang="0">
                    <a:pos x="connsiteX0" y="connsiteY0"/>
                  </a:cxn>
                  <a:cxn ang="0">
                    <a:pos x="connsiteX1" y="connsiteY1"/>
                  </a:cxn>
                  <a:cxn ang="0">
                    <a:pos x="connsiteX2" y="connsiteY2"/>
                  </a:cxn>
                </a:cxnLst>
                <a:rect l="l" t="t" r="r" b="b"/>
                <a:pathLst>
                  <a:path w="302419" h="330994">
                    <a:moveTo>
                      <a:pt x="302419" y="0"/>
                    </a:moveTo>
                    <a:lnTo>
                      <a:pt x="0" y="166688"/>
                    </a:lnTo>
                    <a:lnTo>
                      <a:pt x="300038" y="330994"/>
                    </a:lnTo>
                  </a:path>
                </a:pathLst>
              </a:custGeom>
              <a:noFill/>
              <a:ln w="12700" cap="flat" cmpd="sng" algn="ctr">
                <a:solidFill>
                  <a:srgbClr val="A5A5A5"/>
                </a:solidFill>
                <a:prstDash val="solid"/>
                <a:miter lim="800000"/>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Nokia Pure Headline Light"/>
                  <a:ea typeface=""/>
                  <a:cs typeface=""/>
                </a:endParaRPr>
              </a:p>
            </p:txBody>
          </p:sp>
        </p:grpSp>
        <p:sp>
          <p:nvSpPr>
            <p:cNvPr id="313" name="Rounded Rectangle 5"/>
            <p:cNvSpPr/>
            <p:nvPr/>
          </p:nvSpPr>
          <p:spPr bwMode="auto">
            <a:xfrm>
              <a:off x="3259959" y="1821474"/>
              <a:ext cx="513282" cy="246221"/>
            </a:xfrm>
            <a:prstGeom prst="rect">
              <a:avLst/>
            </a:prstGeom>
            <a:noFill/>
            <a:ln w="12700" cap="flat" cmpd="sng" algn="ctr">
              <a:noFill/>
              <a:prstDash val="solid"/>
              <a:miter lim="800000"/>
            </a:ln>
            <a:effectLst/>
          </p:spPr>
          <p:txBody>
            <a:bodyPr vert="horz" wrap="none" lIns="91440" tIns="0" rIns="91440" bIns="0" anchor="ctr" anchorCtr="0">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alpha val="80000"/>
                    </a:srgbClr>
                  </a:solidFill>
                  <a:effectLst/>
                  <a:uLnTx/>
                  <a:uFillTx/>
                  <a:latin typeface="Nokia Pure Headline Light"/>
                  <a:ea typeface=""/>
                  <a:cs typeface=""/>
                </a:rPr>
                <a:t>Dev</a:t>
              </a:r>
            </a:p>
          </p:txBody>
        </p:sp>
        <p:sp>
          <p:nvSpPr>
            <p:cNvPr id="314" name="Rounded Rectangle 5"/>
            <p:cNvSpPr/>
            <p:nvPr/>
          </p:nvSpPr>
          <p:spPr bwMode="auto">
            <a:xfrm>
              <a:off x="5346712" y="1821474"/>
              <a:ext cx="527710" cy="246221"/>
            </a:xfrm>
            <a:prstGeom prst="rect">
              <a:avLst/>
            </a:prstGeom>
            <a:noFill/>
            <a:ln w="12700" cap="flat" cmpd="sng" algn="ctr">
              <a:noFill/>
              <a:prstDash val="solid"/>
              <a:miter lim="800000"/>
            </a:ln>
            <a:effectLst/>
          </p:spPr>
          <p:txBody>
            <a:bodyPr vert="horz" wrap="none" lIns="91440" tIns="0" rIns="91440" bIns="0" anchor="ctr" anchorCtr="0">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alpha val="80000"/>
                    </a:srgbClr>
                  </a:solidFill>
                  <a:effectLst/>
                  <a:uLnTx/>
                  <a:uFillTx/>
                  <a:latin typeface="Nokia Pure Headline Light"/>
                  <a:ea typeface=""/>
                  <a:cs typeface=""/>
                </a:rPr>
                <a:t>Ops</a:t>
              </a:r>
            </a:p>
          </p:txBody>
        </p:sp>
        <p:sp>
          <p:nvSpPr>
            <p:cNvPr id="315" name="TextBox 125"/>
            <p:cNvSpPr txBox="1"/>
            <p:nvPr/>
          </p:nvSpPr>
          <p:spPr>
            <a:xfrm>
              <a:off x="3263197" y="1510309"/>
              <a:ext cx="537278" cy="153391"/>
            </a:xfrm>
            <a:prstGeom prst="rect">
              <a:avLst/>
            </a:prstGeom>
            <a:solidFill>
              <a:schemeClr val="tx2"/>
            </a:solidFill>
            <a:effectLst>
              <a:outerShdw blurRad="38100" dist="12700" dir="5400000" algn="ctr" rotWithShape="0">
                <a:srgbClr val="44546A"/>
              </a:outerShdw>
            </a:effectLst>
          </p:spPr>
          <p:txBody>
            <a:bodyPr wrap="none" lIns="36000" tIns="36000" rIns="36000" bIns="3600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Nokia Pure Headline Light"/>
                  <a:ea typeface="+mn-ea"/>
                  <a:cs typeface="+mn-cs"/>
                </a:rPr>
                <a:t>Feedback</a:t>
              </a:r>
            </a:p>
          </p:txBody>
        </p:sp>
      </p:grpSp>
      <p:grpSp>
        <p:nvGrpSpPr>
          <p:cNvPr id="338" name="Gruppieren 17"/>
          <p:cNvGrpSpPr/>
          <p:nvPr/>
        </p:nvGrpSpPr>
        <p:grpSpPr>
          <a:xfrm>
            <a:off x="8326935" y="3466453"/>
            <a:ext cx="246692" cy="246692"/>
            <a:chOff x="8372719" y="3409303"/>
            <a:chExt cx="246692" cy="246692"/>
          </a:xfrm>
        </p:grpSpPr>
        <p:sp>
          <p:nvSpPr>
            <p:cNvPr id="339" name="Rechteck: abgerundete Ecken 34"/>
            <p:cNvSpPr/>
            <p:nvPr/>
          </p:nvSpPr>
          <p:spPr>
            <a:xfrm>
              <a:off x="8372719" y="3409303"/>
              <a:ext cx="246692" cy="246692"/>
            </a:xfrm>
            <a:prstGeom prst="roundRect">
              <a:avLst/>
            </a:prstGeom>
            <a:noFill/>
            <a:ln w="6350" cap="flat" cmpd="sng" algn="ctr">
              <a:solidFill>
                <a:schemeClr val="accent3"/>
              </a:solid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white"/>
                </a:solidFill>
                <a:effectLst/>
                <a:uLnTx/>
                <a:uFillTx/>
                <a:latin typeface="Nokia Pure Headline Light"/>
                <a:ea typeface=""/>
                <a:cs typeface=""/>
              </a:endParaRPr>
            </a:p>
          </p:txBody>
        </p:sp>
        <p:sp>
          <p:nvSpPr>
            <p:cNvPr id="340" name="Freihandform: Form 106"/>
            <p:cNvSpPr>
              <a:spLocks noChangeAspect="1"/>
            </p:cNvSpPr>
            <p:nvPr/>
          </p:nvSpPr>
          <p:spPr>
            <a:xfrm>
              <a:off x="8389218" y="3425802"/>
              <a:ext cx="213694" cy="213694"/>
            </a:xfrm>
            <a:custGeom>
              <a:avLst/>
              <a:gdLst>
                <a:gd name="connsiteX0" fmla="*/ 3802721 w 4876800"/>
                <a:gd name="connsiteY0" fmla="*/ 3336856 h 4876800"/>
                <a:gd name="connsiteX1" fmla="*/ 3867877 w 4876800"/>
                <a:gd name="connsiteY1" fmla="*/ 3348475 h 4876800"/>
                <a:gd name="connsiteX2" fmla="*/ 3867877 w 4876800"/>
                <a:gd name="connsiteY2" fmla="*/ 3348476 h 4876800"/>
                <a:gd name="connsiteX3" fmla="*/ 3980821 w 4876800"/>
                <a:gd name="connsiteY3" fmla="*/ 3576580 h 4876800"/>
                <a:gd name="connsiteX4" fmla="*/ 3974438 w 4876800"/>
                <a:gd name="connsiteY4" fmla="*/ 3762582 h 4876800"/>
                <a:gd name="connsiteX5" fmla="*/ 3783673 w 4876800"/>
                <a:gd name="connsiteY5" fmla="*/ 3663329 h 4876800"/>
                <a:gd name="connsiteX6" fmla="*/ 3651679 w 4876800"/>
                <a:gd name="connsiteY6" fmla="*/ 3442368 h 4876800"/>
                <a:gd name="connsiteX7" fmla="*/ 3802721 w 4876800"/>
                <a:gd name="connsiteY7" fmla="*/ 3336856 h 4876800"/>
                <a:gd name="connsiteX8" fmla="*/ 1136577 w 4876800"/>
                <a:gd name="connsiteY8" fmla="*/ 3302674 h 4876800"/>
                <a:gd name="connsiteX9" fmla="*/ 1165947 w 4876800"/>
                <a:gd name="connsiteY9" fmla="*/ 3312470 h 4876800"/>
                <a:gd name="connsiteX10" fmla="*/ 1339200 w 4876800"/>
                <a:gd name="connsiteY10" fmla="*/ 3411929 h 4876800"/>
                <a:gd name="connsiteX11" fmla="*/ 1368000 w 4876800"/>
                <a:gd name="connsiteY11" fmla="*/ 3518364 h 4876800"/>
                <a:gd name="connsiteX12" fmla="*/ 1059473 w 4876800"/>
                <a:gd name="connsiteY12" fmla="*/ 3685781 h 4876800"/>
                <a:gd name="connsiteX13" fmla="*/ 1059512 w 4876800"/>
                <a:gd name="connsiteY13" fmla="*/ 3341270 h 4876800"/>
                <a:gd name="connsiteX14" fmla="*/ 1136577 w 4876800"/>
                <a:gd name="connsiteY14" fmla="*/ 3302674 h 4876800"/>
                <a:gd name="connsiteX15" fmla="*/ 3548662 w 4876800"/>
                <a:gd name="connsiteY15" fmla="*/ 2889651 h 4876800"/>
                <a:gd name="connsiteX16" fmla="*/ 3639714 w 4876800"/>
                <a:gd name="connsiteY16" fmla="*/ 2939263 h 4876800"/>
                <a:gd name="connsiteX17" fmla="*/ 3725083 w 4876800"/>
                <a:gd name="connsiteY17" fmla="*/ 3100652 h 4876800"/>
                <a:gd name="connsiteX18" fmla="*/ 3686027 w 4876800"/>
                <a:gd name="connsiteY18" fmla="*/ 3227424 h 4876800"/>
                <a:gd name="connsiteX19" fmla="*/ 3613460 w 4876800"/>
                <a:gd name="connsiteY19" fmla="*/ 3265810 h 4876800"/>
                <a:gd name="connsiteX20" fmla="*/ 3486687 w 4876800"/>
                <a:gd name="connsiteY20" fmla="*/ 3226755 h 4876800"/>
                <a:gd name="connsiteX21" fmla="*/ 3401318 w 4876800"/>
                <a:gd name="connsiteY21" fmla="*/ 3065366 h 4876800"/>
                <a:gd name="connsiteX22" fmla="*/ 3440374 w 4876800"/>
                <a:gd name="connsiteY22" fmla="*/ 2938593 h 4876800"/>
                <a:gd name="connsiteX23" fmla="*/ 3512941 w 4876800"/>
                <a:gd name="connsiteY23" fmla="*/ 2900207 h 4876800"/>
                <a:gd name="connsiteX24" fmla="*/ 3548662 w 4876800"/>
                <a:gd name="connsiteY24" fmla="*/ 2889651 h 4876800"/>
                <a:gd name="connsiteX25" fmla="*/ 3319494 w 4876800"/>
                <a:gd name="connsiteY25" fmla="*/ 2052640 h 4876800"/>
                <a:gd name="connsiteX26" fmla="*/ 4002860 w 4876800"/>
                <a:gd name="connsiteY26" fmla="*/ 2052640 h 4876800"/>
                <a:gd name="connsiteX27" fmla="*/ 4085059 w 4876800"/>
                <a:gd name="connsiteY27" fmla="*/ 2134838 h 4876800"/>
                <a:gd name="connsiteX28" fmla="*/ 4085059 w 4876800"/>
                <a:gd name="connsiteY28" fmla="*/ 2552872 h 4876800"/>
                <a:gd name="connsiteX29" fmla="*/ 4002860 w 4876800"/>
                <a:gd name="connsiteY29" fmla="*/ 2635070 h 4876800"/>
                <a:gd name="connsiteX30" fmla="*/ 3635662 w 4876800"/>
                <a:gd name="connsiteY30" fmla="*/ 2635070 h 4876800"/>
                <a:gd name="connsiteX31" fmla="*/ 3573211 w 4876800"/>
                <a:gd name="connsiteY31" fmla="*/ 2519579 h 4876800"/>
                <a:gd name="connsiteX32" fmla="*/ 3424216 w 4876800"/>
                <a:gd name="connsiteY32" fmla="*/ 2244421 h 4876800"/>
                <a:gd name="connsiteX33" fmla="*/ 2405568 w 4876800"/>
                <a:gd name="connsiteY33" fmla="*/ 2052640 h 4876800"/>
                <a:gd name="connsiteX34" fmla="*/ 2725311 w 4876800"/>
                <a:gd name="connsiteY34" fmla="*/ 2052640 h 4876800"/>
                <a:gd name="connsiteX35" fmla="*/ 2812798 w 4876800"/>
                <a:gd name="connsiteY35" fmla="*/ 2238745 h 4876800"/>
                <a:gd name="connsiteX36" fmla="*/ 2950553 w 4876800"/>
                <a:gd name="connsiteY36" fmla="*/ 2528104 h 4876800"/>
                <a:gd name="connsiteX37" fmla="*/ 3001896 w 4876800"/>
                <a:gd name="connsiteY37" fmla="*/ 2635070 h 4876800"/>
                <a:gd name="connsiteX38" fmla="*/ 2071213 w 4876800"/>
                <a:gd name="connsiteY38" fmla="*/ 2635070 h 4876800"/>
                <a:gd name="connsiteX39" fmla="*/ 892635 w 4876800"/>
                <a:gd name="connsiteY39" fmla="*/ 2052640 h 4876800"/>
                <a:gd name="connsiteX40" fmla="*/ 1635480 w 4876800"/>
                <a:gd name="connsiteY40" fmla="*/ 2052640 h 4876800"/>
                <a:gd name="connsiteX41" fmla="*/ 1301125 w 4876800"/>
                <a:gd name="connsiteY41" fmla="*/ 2635070 h 4876800"/>
                <a:gd name="connsiteX42" fmla="*/ 892635 w 4876800"/>
                <a:gd name="connsiteY42" fmla="*/ 2635070 h 4876800"/>
                <a:gd name="connsiteX43" fmla="*/ 810437 w 4876800"/>
                <a:gd name="connsiteY43" fmla="*/ 2552872 h 4876800"/>
                <a:gd name="connsiteX44" fmla="*/ 810437 w 4876800"/>
                <a:gd name="connsiteY44" fmla="*/ 2134838 h 4876800"/>
                <a:gd name="connsiteX45" fmla="*/ 892635 w 4876800"/>
                <a:gd name="connsiteY45" fmla="*/ 2052640 h 4876800"/>
                <a:gd name="connsiteX46" fmla="*/ 2182866 w 4876800"/>
                <a:gd name="connsiteY46" fmla="*/ 1489733 h 4876800"/>
                <a:gd name="connsiteX47" fmla="*/ 2213812 w 4876800"/>
                <a:gd name="connsiteY47" fmla="*/ 1500054 h 4876800"/>
                <a:gd name="connsiteX48" fmla="*/ 2396358 w 4876800"/>
                <a:gd name="connsiteY48" fmla="*/ 1604848 h 4876800"/>
                <a:gd name="connsiteX49" fmla="*/ 2426703 w 4876800"/>
                <a:gd name="connsiteY49" fmla="*/ 1716993 h 4876800"/>
                <a:gd name="connsiteX50" fmla="*/ 1521244 w 4876800"/>
                <a:gd name="connsiteY50" fmla="*/ 3294255 h 4876800"/>
                <a:gd name="connsiteX51" fmla="*/ 1409099 w 4876800"/>
                <a:gd name="connsiteY51" fmla="*/ 3324600 h 4876800"/>
                <a:gd name="connsiteX52" fmla="*/ 1226554 w 4876800"/>
                <a:gd name="connsiteY52" fmla="*/ 3219806 h 4876800"/>
                <a:gd name="connsiteX53" fmla="*/ 1196208 w 4876800"/>
                <a:gd name="connsiteY53" fmla="*/ 3107662 h 4876800"/>
                <a:gd name="connsiteX54" fmla="*/ 2101667 w 4876800"/>
                <a:gd name="connsiteY54" fmla="*/ 1530399 h 4876800"/>
                <a:gd name="connsiteX55" fmla="*/ 2182866 w 4876800"/>
                <a:gd name="connsiteY55" fmla="*/ 1489733 h 4876800"/>
                <a:gd name="connsiteX56" fmla="*/ 2384220 w 4876800"/>
                <a:gd name="connsiteY56" fmla="*/ 736903 h 4876800"/>
                <a:gd name="connsiteX57" fmla="*/ 3497077 w 4876800"/>
                <a:gd name="connsiteY57" fmla="*/ 2610211 h 4876800"/>
                <a:gd name="connsiteX58" fmla="*/ 3438151 w 4876800"/>
                <a:gd name="connsiteY58" fmla="*/ 2801482 h 4876800"/>
                <a:gd name="connsiteX59" fmla="*/ 3387515 w 4876800"/>
                <a:gd name="connsiteY59" fmla="*/ 2828267 h 4876800"/>
                <a:gd name="connsiteX60" fmla="*/ 3196244 w 4876800"/>
                <a:gd name="connsiteY60" fmla="*/ 2769341 h 4876800"/>
                <a:gd name="connsiteX61" fmla="*/ 2372676 w 4876800"/>
                <a:gd name="connsiteY61" fmla="*/ 737698 h 4876800"/>
                <a:gd name="connsiteX62" fmla="*/ 2384220 w 4876800"/>
                <a:gd name="connsiteY62" fmla="*/ 736903 h 4876800"/>
                <a:gd name="connsiteX63" fmla="*/ 2438400 w 4876800"/>
                <a:gd name="connsiteY63" fmla="*/ 213555 h 4876800"/>
                <a:gd name="connsiteX64" fmla="*/ 213555 w 4876800"/>
                <a:gd name="connsiteY64" fmla="*/ 2438400 h 4876800"/>
                <a:gd name="connsiteX65" fmla="*/ 2438400 w 4876800"/>
                <a:gd name="connsiteY65" fmla="*/ 4663245 h 4876800"/>
                <a:gd name="connsiteX66" fmla="*/ 4663245 w 4876800"/>
                <a:gd name="connsiteY66" fmla="*/ 2438400 h 4876800"/>
                <a:gd name="connsiteX67" fmla="*/ 2438400 w 4876800"/>
                <a:gd name="connsiteY67" fmla="*/ 213555 h 4876800"/>
                <a:gd name="connsiteX68" fmla="*/ 2438400 w 4876800"/>
                <a:gd name="connsiteY68" fmla="*/ 0 h 4876800"/>
                <a:gd name="connsiteX69" fmla="*/ 4876800 w 4876800"/>
                <a:gd name="connsiteY69" fmla="*/ 2438400 h 4876800"/>
                <a:gd name="connsiteX70" fmla="*/ 2438400 w 4876800"/>
                <a:gd name="connsiteY70" fmla="*/ 4876800 h 4876800"/>
                <a:gd name="connsiteX71" fmla="*/ 0 w 4876800"/>
                <a:gd name="connsiteY71" fmla="*/ 2438400 h 4876800"/>
                <a:gd name="connsiteX72" fmla="*/ 2438400 w 4876800"/>
                <a:gd name="connsiteY72" fmla="*/ 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4876800" h="4876800">
                  <a:moveTo>
                    <a:pt x="3802721" y="3336856"/>
                  </a:moveTo>
                  <a:cubicBezTo>
                    <a:pt x="3824365" y="3336326"/>
                    <a:pt x="3846470" y="3340031"/>
                    <a:pt x="3867877" y="3348475"/>
                  </a:cubicBezTo>
                  <a:lnTo>
                    <a:pt x="3867877" y="3348476"/>
                  </a:lnTo>
                  <a:cubicBezTo>
                    <a:pt x="3953506" y="3382249"/>
                    <a:pt x="3950300" y="3419514"/>
                    <a:pt x="3980821" y="3576580"/>
                  </a:cubicBezTo>
                  <a:cubicBezTo>
                    <a:pt x="3978693" y="3638580"/>
                    <a:pt x="3981328" y="3705346"/>
                    <a:pt x="3974438" y="3762582"/>
                  </a:cubicBezTo>
                  <a:cubicBezTo>
                    <a:pt x="3934661" y="3720767"/>
                    <a:pt x="3835355" y="3683714"/>
                    <a:pt x="3783673" y="3663329"/>
                  </a:cubicBezTo>
                  <a:cubicBezTo>
                    <a:pt x="3698044" y="3629556"/>
                    <a:pt x="3617905" y="3527997"/>
                    <a:pt x="3651679" y="3442368"/>
                  </a:cubicBezTo>
                  <a:cubicBezTo>
                    <a:pt x="3677009" y="3378146"/>
                    <a:pt x="3737789" y="3338444"/>
                    <a:pt x="3802721" y="3336856"/>
                  </a:cubicBezTo>
                  <a:close/>
                  <a:moveTo>
                    <a:pt x="1136577" y="3302674"/>
                  </a:moveTo>
                  <a:cubicBezTo>
                    <a:pt x="1146631" y="3303897"/>
                    <a:pt x="1156611" y="3307110"/>
                    <a:pt x="1165947" y="3312470"/>
                  </a:cubicBezTo>
                  <a:lnTo>
                    <a:pt x="1339200" y="3411929"/>
                  </a:lnTo>
                  <a:cubicBezTo>
                    <a:pt x="1376544" y="3433367"/>
                    <a:pt x="1389438" y="3481020"/>
                    <a:pt x="1368000" y="3518364"/>
                  </a:cubicBezTo>
                  <a:cubicBezTo>
                    <a:pt x="1265158" y="3574169"/>
                    <a:pt x="1088496" y="3713320"/>
                    <a:pt x="1059473" y="3685781"/>
                  </a:cubicBezTo>
                  <a:cubicBezTo>
                    <a:pt x="1033292" y="3673339"/>
                    <a:pt x="1059500" y="3456107"/>
                    <a:pt x="1059512" y="3341270"/>
                  </a:cubicBezTo>
                  <a:cubicBezTo>
                    <a:pt x="1075591" y="3313262"/>
                    <a:pt x="1106415" y="3299007"/>
                    <a:pt x="1136577" y="3302674"/>
                  </a:cubicBezTo>
                  <a:close/>
                  <a:moveTo>
                    <a:pt x="3548662" y="2889651"/>
                  </a:moveTo>
                  <a:cubicBezTo>
                    <a:pt x="3585079" y="2886497"/>
                    <a:pt x="3621547" y="2904918"/>
                    <a:pt x="3639714" y="2939263"/>
                  </a:cubicBezTo>
                  <a:lnTo>
                    <a:pt x="3725083" y="3100652"/>
                  </a:lnTo>
                  <a:cubicBezTo>
                    <a:pt x="3749305" y="3146444"/>
                    <a:pt x="3731820" y="3203202"/>
                    <a:pt x="3686027" y="3227424"/>
                  </a:cubicBezTo>
                  <a:lnTo>
                    <a:pt x="3613460" y="3265810"/>
                  </a:lnTo>
                  <a:cubicBezTo>
                    <a:pt x="3567667" y="3290032"/>
                    <a:pt x="3510910" y="3272547"/>
                    <a:pt x="3486687" y="3226755"/>
                  </a:cubicBezTo>
                  <a:lnTo>
                    <a:pt x="3401318" y="3065366"/>
                  </a:lnTo>
                  <a:cubicBezTo>
                    <a:pt x="3377096" y="3019573"/>
                    <a:pt x="3394581" y="2962816"/>
                    <a:pt x="3440374" y="2938593"/>
                  </a:cubicBezTo>
                  <a:lnTo>
                    <a:pt x="3512941" y="2900207"/>
                  </a:lnTo>
                  <a:cubicBezTo>
                    <a:pt x="3524389" y="2894152"/>
                    <a:pt x="3536523" y="2890703"/>
                    <a:pt x="3548662" y="2889651"/>
                  </a:cubicBezTo>
                  <a:close/>
                  <a:moveTo>
                    <a:pt x="3319494" y="2052640"/>
                  </a:moveTo>
                  <a:lnTo>
                    <a:pt x="4002860" y="2052640"/>
                  </a:lnTo>
                  <a:cubicBezTo>
                    <a:pt x="4048256" y="2052640"/>
                    <a:pt x="4085059" y="2089441"/>
                    <a:pt x="4085059" y="2134838"/>
                  </a:cubicBezTo>
                  <a:lnTo>
                    <a:pt x="4085059" y="2552872"/>
                  </a:lnTo>
                  <a:cubicBezTo>
                    <a:pt x="4085059" y="2598269"/>
                    <a:pt x="4048256" y="2635070"/>
                    <a:pt x="4002860" y="2635070"/>
                  </a:cubicBezTo>
                  <a:lnTo>
                    <a:pt x="3635662" y="2635070"/>
                  </a:lnTo>
                  <a:lnTo>
                    <a:pt x="3573211" y="2519579"/>
                  </a:lnTo>
                  <a:cubicBezTo>
                    <a:pt x="3524521" y="2429550"/>
                    <a:pt x="3474727" y="2337541"/>
                    <a:pt x="3424216" y="2244421"/>
                  </a:cubicBezTo>
                  <a:close/>
                  <a:moveTo>
                    <a:pt x="2405568" y="2052640"/>
                  </a:moveTo>
                  <a:lnTo>
                    <a:pt x="2725311" y="2052640"/>
                  </a:lnTo>
                  <a:lnTo>
                    <a:pt x="2812798" y="2238745"/>
                  </a:lnTo>
                  <a:cubicBezTo>
                    <a:pt x="2858950" y="2336227"/>
                    <a:pt x="2905044" y="2432972"/>
                    <a:pt x="2950553" y="2528104"/>
                  </a:cubicBezTo>
                  <a:lnTo>
                    <a:pt x="3001896" y="2635070"/>
                  </a:lnTo>
                  <a:lnTo>
                    <a:pt x="2071213" y="2635070"/>
                  </a:lnTo>
                  <a:close/>
                  <a:moveTo>
                    <a:pt x="892635" y="2052640"/>
                  </a:moveTo>
                  <a:lnTo>
                    <a:pt x="1635480" y="2052640"/>
                  </a:lnTo>
                  <a:lnTo>
                    <a:pt x="1301125" y="2635070"/>
                  </a:lnTo>
                  <a:lnTo>
                    <a:pt x="892635" y="2635070"/>
                  </a:lnTo>
                  <a:cubicBezTo>
                    <a:pt x="847238" y="2635070"/>
                    <a:pt x="810437" y="2598269"/>
                    <a:pt x="810437" y="2552872"/>
                  </a:cubicBezTo>
                  <a:lnTo>
                    <a:pt x="810437" y="2134838"/>
                  </a:lnTo>
                  <a:cubicBezTo>
                    <a:pt x="810437" y="2089441"/>
                    <a:pt x="847238" y="2052640"/>
                    <a:pt x="892635" y="2052640"/>
                  </a:cubicBezTo>
                  <a:close/>
                  <a:moveTo>
                    <a:pt x="2182866" y="1489733"/>
                  </a:moveTo>
                  <a:cubicBezTo>
                    <a:pt x="2193460" y="1491021"/>
                    <a:pt x="2203975" y="1494407"/>
                    <a:pt x="2213812" y="1500054"/>
                  </a:cubicBezTo>
                  <a:lnTo>
                    <a:pt x="2396358" y="1604848"/>
                  </a:lnTo>
                  <a:cubicBezTo>
                    <a:pt x="2435705" y="1627436"/>
                    <a:pt x="2449291" y="1677645"/>
                    <a:pt x="2426703" y="1716993"/>
                  </a:cubicBezTo>
                  <a:lnTo>
                    <a:pt x="1521244" y="3294255"/>
                  </a:lnTo>
                  <a:cubicBezTo>
                    <a:pt x="1498656" y="3333602"/>
                    <a:pt x="1448447" y="3347188"/>
                    <a:pt x="1409099" y="3324600"/>
                  </a:cubicBezTo>
                  <a:lnTo>
                    <a:pt x="1226554" y="3219806"/>
                  </a:lnTo>
                  <a:cubicBezTo>
                    <a:pt x="1187206" y="3197218"/>
                    <a:pt x="1173620" y="3147009"/>
                    <a:pt x="1196208" y="3107662"/>
                  </a:cubicBezTo>
                  <a:lnTo>
                    <a:pt x="2101667" y="1530399"/>
                  </a:lnTo>
                  <a:cubicBezTo>
                    <a:pt x="2118609" y="1500889"/>
                    <a:pt x="2151087" y="1485869"/>
                    <a:pt x="2182866" y="1489733"/>
                  </a:cubicBezTo>
                  <a:close/>
                  <a:moveTo>
                    <a:pt x="2384220" y="736903"/>
                  </a:moveTo>
                  <a:cubicBezTo>
                    <a:pt x="2520106" y="768014"/>
                    <a:pt x="3161671" y="1998625"/>
                    <a:pt x="3497077" y="2610211"/>
                  </a:cubicBezTo>
                  <a:cubicBezTo>
                    <a:pt x="3533622" y="2679301"/>
                    <a:pt x="3507240" y="2764936"/>
                    <a:pt x="3438151" y="2801482"/>
                  </a:cubicBezTo>
                  <a:lnTo>
                    <a:pt x="3387515" y="2828267"/>
                  </a:lnTo>
                  <a:cubicBezTo>
                    <a:pt x="3318426" y="2864813"/>
                    <a:pt x="3232790" y="2838430"/>
                    <a:pt x="3196244" y="2769341"/>
                  </a:cubicBezTo>
                  <a:cubicBezTo>
                    <a:pt x="2905053" y="2156420"/>
                    <a:pt x="2228099" y="810075"/>
                    <a:pt x="2372676" y="737698"/>
                  </a:cubicBezTo>
                  <a:cubicBezTo>
                    <a:pt x="2375980" y="736144"/>
                    <a:pt x="2379837" y="735899"/>
                    <a:pt x="2384220" y="736903"/>
                  </a:cubicBezTo>
                  <a:close/>
                  <a:moveTo>
                    <a:pt x="2438400" y="213555"/>
                  </a:moveTo>
                  <a:cubicBezTo>
                    <a:pt x="1209652" y="213555"/>
                    <a:pt x="213555" y="1209652"/>
                    <a:pt x="213555" y="2438400"/>
                  </a:cubicBezTo>
                  <a:cubicBezTo>
                    <a:pt x="213555" y="3667148"/>
                    <a:pt x="1209652" y="4663245"/>
                    <a:pt x="2438400" y="4663245"/>
                  </a:cubicBezTo>
                  <a:cubicBezTo>
                    <a:pt x="3667148" y="4663245"/>
                    <a:pt x="4663245" y="3667148"/>
                    <a:pt x="4663245" y="2438400"/>
                  </a:cubicBezTo>
                  <a:cubicBezTo>
                    <a:pt x="4663245" y="1209652"/>
                    <a:pt x="3667148" y="213555"/>
                    <a:pt x="2438400" y="213555"/>
                  </a:cubicBezTo>
                  <a:close/>
                  <a:moveTo>
                    <a:pt x="2438400" y="0"/>
                  </a:moveTo>
                  <a:cubicBezTo>
                    <a:pt x="3785091" y="0"/>
                    <a:pt x="4876800" y="1091709"/>
                    <a:pt x="4876800" y="2438400"/>
                  </a:cubicBezTo>
                  <a:cubicBezTo>
                    <a:pt x="4876800" y="3785091"/>
                    <a:pt x="3785091" y="4876800"/>
                    <a:pt x="2438400" y="4876800"/>
                  </a:cubicBezTo>
                  <a:cubicBezTo>
                    <a:pt x="1091709" y="4876800"/>
                    <a:pt x="0" y="3785091"/>
                    <a:pt x="0" y="2438400"/>
                  </a:cubicBezTo>
                  <a:cubicBezTo>
                    <a:pt x="0" y="1091709"/>
                    <a:pt x="1091709" y="0"/>
                    <a:pt x="2438400" y="0"/>
                  </a:cubicBezTo>
                  <a:close/>
                </a:path>
              </a:pathLst>
            </a:custGeom>
            <a:solidFill>
              <a:schemeClr val="accent3"/>
            </a:solidFill>
            <a:ln>
              <a:noFill/>
            </a:ln>
          </p:spPr>
          <p:txBody>
            <a:bodyPr wrap="square"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black"/>
                </a:solidFill>
                <a:effectLst/>
                <a:uLnTx/>
                <a:uFillTx/>
                <a:latin typeface="Nokia Pure Headline Light"/>
                <a:ea typeface="+mn-ea"/>
                <a:cs typeface="+mn-cs"/>
              </a:endParaRPr>
            </a:p>
          </p:txBody>
        </p:sp>
      </p:grpSp>
      <p:grpSp>
        <p:nvGrpSpPr>
          <p:cNvPr id="341" name="Gruppieren 19"/>
          <p:cNvGrpSpPr/>
          <p:nvPr/>
        </p:nvGrpSpPr>
        <p:grpSpPr>
          <a:xfrm>
            <a:off x="431800" y="1376727"/>
            <a:ext cx="1721946" cy="540000"/>
            <a:chOff x="431800" y="1205277"/>
            <a:chExt cx="1721946" cy="540000"/>
          </a:xfrm>
        </p:grpSpPr>
        <p:sp>
          <p:nvSpPr>
            <p:cNvPr id="342" name="Rechteck 111"/>
            <p:cNvSpPr/>
            <p:nvPr/>
          </p:nvSpPr>
          <p:spPr>
            <a:xfrm>
              <a:off x="431800" y="1205277"/>
              <a:ext cx="1692000" cy="540000"/>
            </a:xfrm>
            <a:prstGeom prst="rect">
              <a:avLst/>
            </a:prstGeom>
            <a:solidFill>
              <a:sysClr val="window" lastClr="FFFFFF"/>
            </a:solidFill>
            <a:ln w="12700" cap="flat" cmpd="sng" algn="ctr">
              <a:solidFill>
                <a:schemeClr val="tx2"/>
              </a:solid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1135"/>
                  </a:solidFill>
                  <a:effectLst/>
                  <a:uLnTx/>
                  <a:uFillTx/>
                  <a:latin typeface="Nokia Pure Headline Light"/>
                  <a:ea typeface=""/>
                  <a:cs typeface=""/>
                </a:rPr>
                <a:t>Culture for quality and transparency</a:t>
              </a:r>
            </a:p>
            <a:p>
              <a:pPr marL="0" marR="0" lvl="0" indent="0" algn="l" defTabSz="914378" rtl="0" eaLnBrk="1" fontAlgn="auto" latinLnBrk="0" hangingPunct="1">
                <a:lnSpc>
                  <a:spcPct val="9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1135"/>
                </a:solidFill>
                <a:effectLst/>
                <a:uLnTx/>
                <a:uFillTx/>
                <a:latin typeface="Nokia Pure Headline Light"/>
                <a:ea typeface=""/>
                <a:cs typeface=""/>
              </a:endParaRPr>
            </a:p>
          </p:txBody>
        </p:sp>
        <p:grpSp>
          <p:nvGrpSpPr>
            <p:cNvPr id="343" name="Gruppieren 12"/>
            <p:cNvGrpSpPr/>
            <p:nvPr/>
          </p:nvGrpSpPr>
          <p:grpSpPr>
            <a:xfrm>
              <a:off x="2094403" y="1205277"/>
              <a:ext cx="59343" cy="217833"/>
              <a:chOff x="2094403" y="1205277"/>
              <a:chExt cx="59343" cy="217833"/>
            </a:xfrm>
          </p:grpSpPr>
          <p:sp>
            <p:nvSpPr>
              <p:cNvPr id="344" name="Rechteck 11"/>
              <p:cNvSpPr/>
              <p:nvPr/>
            </p:nvSpPr>
            <p:spPr>
              <a:xfrm flipV="1">
                <a:off x="2094403" y="1351102"/>
                <a:ext cx="59343" cy="72008"/>
              </a:xfrm>
              <a:prstGeom prst="rect">
                <a:avLst/>
              </a:prstGeom>
              <a:solidFill>
                <a:sysClr val="window" lastClr="FFFFFF"/>
              </a:solidFill>
              <a:ln w="635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1135"/>
                  </a:solidFill>
                  <a:effectLst/>
                  <a:uLnTx/>
                  <a:uFillTx/>
                  <a:latin typeface="Nokia Pure Headline Light"/>
                  <a:ea typeface=""/>
                  <a:cs typeface=""/>
                </a:endParaRPr>
              </a:p>
            </p:txBody>
          </p:sp>
          <p:cxnSp>
            <p:nvCxnSpPr>
              <p:cNvPr id="345" name="Gerader Verbinder 107"/>
              <p:cNvCxnSpPr>
                <a:cxnSpLocks/>
              </p:cNvCxnSpPr>
              <p:nvPr/>
            </p:nvCxnSpPr>
            <p:spPr>
              <a:xfrm>
                <a:off x="2123800" y="1205277"/>
                <a:ext cx="0" cy="180000"/>
              </a:xfrm>
              <a:prstGeom prst="line">
                <a:avLst/>
              </a:prstGeom>
              <a:noFill/>
              <a:ln w="12700" cap="rnd" cmpd="sng" algn="ctr">
                <a:solidFill>
                  <a:schemeClr val="tx2"/>
                </a:solidFill>
                <a:prstDash val="solid"/>
                <a:miter lim="800000"/>
                <a:tailEnd type="arrow" w="sm" len="sm"/>
              </a:ln>
              <a:effectLst/>
            </p:spPr>
          </p:cxnSp>
        </p:grpSp>
      </p:grpSp>
      <p:grpSp>
        <p:nvGrpSpPr>
          <p:cNvPr id="346" name="Gruppieren 13"/>
          <p:cNvGrpSpPr/>
          <p:nvPr/>
        </p:nvGrpSpPr>
        <p:grpSpPr>
          <a:xfrm>
            <a:off x="431800" y="2024727"/>
            <a:ext cx="1721946" cy="540000"/>
            <a:chOff x="431800" y="1853277"/>
            <a:chExt cx="1721946" cy="540000"/>
          </a:xfrm>
        </p:grpSpPr>
        <p:sp>
          <p:nvSpPr>
            <p:cNvPr id="347" name="Rechteck 140"/>
            <p:cNvSpPr/>
            <p:nvPr/>
          </p:nvSpPr>
          <p:spPr>
            <a:xfrm>
              <a:off x="431800" y="1853277"/>
              <a:ext cx="1692000" cy="540000"/>
            </a:xfrm>
            <a:prstGeom prst="rect">
              <a:avLst/>
            </a:prstGeom>
            <a:solidFill>
              <a:sysClr val="window" lastClr="FFFFFF"/>
            </a:solidFill>
            <a:ln w="12700" cap="flat" cmpd="sng" algn="ctr">
              <a:solidFill>
                <a:schemeClr val="tx2"/>
              </a:solid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1135"/>
                  </a:solidFill>
                  <a:effectLst/>
                  <a:uLnTx/>
                  <a:uFillTx/>
                  <a:latin typeface="Nokia Pure Headline Light"/>
                  <a:ea typeface=""/>
                  <a:cs typeface=""/>
                </a:rPr>
                <a:t>Business agility</a:t>
              </a:r>
            </a:p>
            <a:p>
              <a:pPr marL="0" marR="0" lvl="0" indent="0" algn="l" defTabSz="914378" rtl="0" eaLnBrk="1" fontAlgn="auto" latinLnBrk="0" hangingPunct="1">
                <a:lnSpc>
                  <a:spcPct val="9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1135"/>
                </a:solidFill>
                <a:effectLst/>
                <a:uLnTx/>
                <a:uFillTx/>
                <a:latin typeface="Nokia Pure Headline Light"/>
                <a:ea typeface=""/>
                <a:cs typeface=""/>
              </a:endParaRPr>
            </a:p>
          </p:txBody>
        </p:sp>
        <p:grpSp>
          <p:nvGrpSpPr>
            <p:cNvPr id="348" name="Gruppieren 112"/>
            <p:cNvGrpSpPr/>
            <p:nvPr/>
          </p:nvGrpSpPr>
          <p:grpSpPr>
            <a:xfrm>
              <a:off x="2094403" y="1853277"/>
              <a:ext cx="59343" cy="217833"/>
              <a:chOff x="2094403" y="1205277"/>
              <a:chExt cx="59343" cy="217833"/>
            </a:xfrm>
          </p:grpSpPr>
          <p:sp>
            <p:nvSpPr>
              <p:cNvPr id="349" name="Rechteck 113"/>
              <p:cNvSpPr/>
              <p:nvPr/>
            </p:nvSpPr>
            <p:spPr>
              <a:xfrm flipV="1">
                <a:off x="2094403" y="1351102"/>
                <a:ext cx="59343" cy="72008"/>
              </a:xfrm>
              <a:prstGeom prst="rect">
                <a:avLst/>
              </a:prstGeom>
              <a:solidFill>
                <a:sysClr val="window" lastClr="FFFFFF"/>
              </a:solidFill>
              <a:ln w="635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1135"/>
                  </a:solidFill>
                  <a:effectLst/>
                  <a:uLnTx/>
                  <a:uFillTx/>
                  <a:latin typeface="Nokia Pure Headline Light"/>
                  <a:ea typeface=""/>
                  <a:cs typeface=""/>
                </a:endParaRPr>
              </a:p>
            </p:txBody>
          </p:sp>
          <p:cxnSp>
            <p:nvCxnSpPr>
              <p:cNvPr id="350" name="Gerader Verbinder 114"/>
              <p:cNvCxnSpPr>
                <a:cxnSpLocks/>
              </p:cNvCxnSpPr>
              <p:nvPr/>
            </p:nvCxnSpPr>
            <p:spPr>
              <a:xfrm>
                <a:off x="2123800" y="1205277"/>
                <a:ext cx="0" cy="180000"/>
              </a:xfrm>
              <a:prstGeom prst="line">
                <a:avLst/>
              </a:prstGeom>
              <a:noFill/>
              <a:ln w="12700" cap="rnd" cmpd="sng" algn="ctr">
                <a:solidFill>
                  <a:schemeClr val="tx2"/>
                </a:solidFill>
                <a:prstDash val="solid"/>
                <a:miter lim="800000"/>
                <a:tailEnd type="arrow" w="sm" len="sm"/>
              </a:ln>
              <a:effectLst/>
            </p:spPr>
          </p:cxnSp>
        </p:grpSp>
      </p:grpSp>
      <p:grpSp>
        <p:nvGrpSpPr>
          <p:cNvPr id="351" name="Gruppieren 16"/>
          <p:cNvGrpSpPr/>
          <p:nvPr/>
        </p:nvGrpSpPr>
        <p:grpSpPr>
          <a:xfrm>
            <a:off x="431800" y="2672727"/>
            <a:ext cx="1721946" cy="540000"/>
            <a:chOff x="431800" y="2501277"/>
            <a:chExt cx="1721946" cy="540000"/>
          </a:xfrm>
        </p:grpSpPr>
        <p:sp>
          <p:nvSpPr>
            <p:cNvPr id="352" name="Rechteck 141"/>
            <p:cNvSpPr/>
            <p:nvPr/>
          </p:nvSpPr>
          <p:spPr>
            <a:xfrm>
              <a:off x="431800" y="2501277"/>
              <a:ext cx="1692000" cy="540000"/>
            </a:xfrm>
            <a:prstGeom prst="rect">
              <a:avLst/>
            </a:prstGeom>
            <a:solidFill>
              <a:sysClr val="window" lastClr="FFFFFF"/>
            </a:solidFill>
            <a:ln w="12700" cap="flat" cmpd="sng" algn="ctr">
              <a:solidFill>
                <a:schemeClr val="tx2"/>
              </a:solid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1135"/>
                  </a:solidFill>
                  <a:effectLst/>
                  <a:uLnTx/>
                  <a:uFillTx/>
                  <a:latin typeface="Nokia Pure Headline Light"/>
                  <a:ea typeface=""/>
                  <a:cs typeface=""/>
                </a:rPr>
                <a:t>Full automation</a:t>
              </a:r>
              <a:endParaRPr kumimoji="0" lang="en-GB" sz="1100" b="0" i="0" u="none" strike="noStrike" kern="0" cap="none" spc="0" normalizeH="0" baseline="0" noProof="0" dirty="0">
                <a:ln>
                  <a:noFill/>
                </a:ln>
                <a:solidFill>
                  <a:srgbClr val="001135"/>
                </a:solidFill>
                <a:effectLst/>
                <a:uLnTx/>
                <a:uFillTx/>
                <a:latin typeface="Nokia Pure Headline Light"/>
                <a:ea typeface=""/>
                <a:cs typeface=""/>
              </a:endParaRPr>
            </a:p>
          </p:txBody>
        </p:sp>
        <p:grpSp>
          <p:nvGrpSpPr>
            <p:cNvPr id="353" name="Gruppieren 116"/>
            <p:cNvGrpSpPr/>
            <p:nvPr/>
          </p:nvGrpSpPr>
          <p:grpSpPr>
            <a:xfrm>
              <a:off x="2094403" y="2501277"/>
              <a:ext cx="59343" cy="217833"/>
              <a:chOff x="2094403" y="1205277"/>
              <a:chExt cx="59343" cy="217833"/>
            </a:xfrm>
          </p:grpSpPr>
          <p:sp>
            <p:nvSpPr>
              <p:cNvPr id="354" name="Rechteck 117"/>
              <p:cNvSpPr/>
              <p:nvPr/>
            </p:nvSpPr>
            <p:spPr>
              <a:xfrm flipV="1">
                <a:off x="2094403" y="1351102"/>
                <a:ext cx="59343" cy="72008"/>
              </a:xfrm>
              <a:prstGeom prst="rect">
                <a:avLst/>
              </a:prstGeom>
              <a:solidFill>
                <a:schemeClr val="bg1"/>
              </a:solidFill>
              <a:ln w="635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1135"/>
                  </a:solidFill>
                  <a:effectLst/>
                  <a:uLnTx/>
                  <a:uFillTx/>
                  <a:latin typeface="Nokia Pure Headline Light"/>
                  <a:ea typeface=""/>
                  <a:cs typeface=""/>
                </a:endParaRPr>
              </a:p>
            </p:txBody>
          </p:sp>
          <p:cxnSp>
            <p:nvCxnSpPr>
              <p:cNvPr id="355" name="Gerader Verbinder 119"/>
              <p:cNvCxnSpPr>
                <a:cxnSpLocks/>
              </p:cNvCxnSpPr>
              <p:nvPr/>
            </p:nvCxnSpPr>
            <p:spPr>
              <a:xfrm>
                <a:off x="2123800" y="1205277"/>
                <a:ext cx="0" cy="180000"/>
              </a:xfrm>
              <a:prstGeom prst="line">
                <a:avLst/>
              </a:prstGeom>
              <a:noFill/>
              <a:ln w="12700" cap="rnd" cmpd="sng" algn="ctr">
                <a:solidFill>
                  <a:schemeClr val="tx2"/>
                </a:solidFill>
                <a:prstDash val="solid"/>
                <a:miter lim="800000"/>
                <a:tailEnd type="arrow" w="sm" len="sm"/>
              </a:ln>
              <a:effectLst/>
            </p:spPr>
          </p:cxnSp>
        </p:grpSp>
      </p:grpSp>
      <p:grpSp>
        <p:nvGrpSpPr>
          <p:cNvPr id="356" name="Gruppieren 18"/>
          <p:cNvGrpSpPr/>
          <p:nvPr/>
        </p:nvGrpSpPr>
        <p:grpSpPr>
          <a:xfrm>
            <a:off x="431800" y="3320727"/>
            <a:ext cx="1721946" cy="540000"/>
            <a:chOff x="431800" y="3149277"/>
            <a:chExt cx="1721946" cy="540000"/>
          </a:xfrm>
        </p:grpSpPr>
        <p:sp>
          <p:nvSpPr>
            <p:cNvPr id="357" name="Rechteck 142"/>
            <p:cNvSpPr/>
            <p:nvPr/>
          </p:nvSpPr>
          <p:spPr>
            <a:xfrm>
              <a:off x="431800" y="3149277"/>
              <a:ext cx="1692000" cy="540000"/>
            </a:xfrm>
            <a:prstGeom prst="rect">
              <a:avLst/>
            </a:prstGeom>
            <a:solidFill>
              <a:sysClr val="window" lastClr="FFFFFF"/>
            </a:solidFill>
            <a:ln w="12700" cap="flat" cmpd="sng" algn="ctr">
              <a:solidFill>
                <a:schemeClr val="tx2"/>
              </a:solid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1135"/>
                  </a:solidFill>
                  <a:effectLst/>
                  <a:uLnTx/>
                  <a:uFillTx/>
                  <a:latin typeface="Nokia Pure Headline Light"/>
                  <a:ea typeface=""/>
                  <a:cs typeface=""/>
                </a:rPr>
                <a:t>Simplify operations</a:t>
              </a:r>
            </a:p>
            <a:p>
              <a:pPr marL="0" marR="0" lvl="0" indent="0" algn="l" defTabSz="914378" rtl="0" eaLnBrk="1" fontAlgn="auto" latinLnBrk="0" hangingPunct="1">
                <a:lnSpc>
                  <a:spcPct val="9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1135"/>
                </a:solidFill>
                <a:effectLst/>
                <a:uLnTx/>
                <a:uFillTx/>
                <a:latin typeface="Nokia Pure Headline Light"/>
                <a:ea typeface=""/>
                <a:cs typeface=""/>
              </a:endParaRPr>
            </a:p>
          </p:txBody>
        </p:sp>
        <p:grpSp>
          <p:nvGrpSpPr>
            <p:cNvPr id="358" name="Gruppieren 120"/>
            <p:cNvGrpSpPr/>
            <p:nvPr/>
          </p:nvGrpSpPr>
          <p:grpSpPr>
            <a:xfrm>
              <a:off x="2094403" y="3149277"/>
              <a:ext cx="59343" cy="217833"/>
              <a:chOff x="2094403" y="1205277"/>
              <a:chExt cx="59343" cy="217833"/>
            </a:xfrm>
          </p:grpSpPr>
          <p:sp>
            <p:nvSpPr>
              <p:cNvPr id="359" name="Rechteck 121"/>
              <p:cNvSpPr/>
              <p:nvPr/>
            </p:nvSpPr>
            <p:spPr>
              <a:xfrm flipV="1">
                <a:off x="2094403" y="1351102"/>
                <a:ext cx="59343" cy="72008"/>
              </a:xfrm>
              <a:prstGeom prst="rect">
                <a:avLst/>
              </a:prstGeom>
              <a:solidFill>
                <a:sysClr val="window" lastClr="FFFFFF"/>
              </a:solidFill>
              <a:ln w="635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1135"/>
                  </a:solidFill>
                  <a:effectLst/>
                  <a:uLnTx/>
                  <a:uFillTx/>
                  <a:latin typeface="Nokia Pure Headline Light"/>
                  <a:ea typeface=""/>
                  <a:cs typeface=""/>
                </a:endParaRPr>
              </a:p>
            </p:txBody>
          </p:sp>
          <p:cxnSp>
            <p:nvCxnSpPr>
              <p:cNvPr id="360" name="Gerader Verbinder 122"/>
              <p:cNvCxnSpPr>
                <a:cxnSpLocks/>
              </p:cNvCxnSpPr>
              <p:nvPr/>
            </p:nvCxnSpPr>
            <p:spPr>
              <a:xfrm>
                <a:off x="2123800" y="1205277"/>
                <a:ext cx="0" cy="180000"/>
              </a:xfrm>
              <a:prstGeom prst="line">
                <a:avLst/>
              </a:prstGeom>
              <a:noFill/>
              <a:ln w="12700" cap="rnd" cmpd="sng" algn="ctr">
                <a:solidFill>
                  <a:schemeClr val="tx2"/>
                </a:solidFill>
                <a:prstDash val="solid"/>
                <a:miter lim="800000"/>
                <a:tailEnd type="arrow" w="sm" len="sm"/>
              </a:ln>
              <a:effectLst/>
            </p:spPr>
          </p:cxnSp>
        </p:grpSp>
      </p:grpSp>
      <p:cxnSp>
        <p:nvCxnSpPr>
          <p:cNvPr id="361" name="Straight Arrow Connector 360"/>
          <p:cNvCxnSpPr/>
          <p:nvPr/>
        </p:nvCxnSpPr>
        <p:spPr>
          <a:xfrm>
            <a:off x="7956376" y="2919448"/>
            <a:ext cx="628824" cy="0"/>
          </a:xfrm>
          <a:prstGeom prst="straightConnector1">
            <a:avLst/>
          </a:prstGeom>
          <a:noFill/>
          <a:ln w="12700" cap="flat" cmpd="sng" algn="ctr">
            <a:solidFill>
              <a:schemeClr val="accent3"/>
            </a:solidFill>
            <a:prstDash val="solid"/>
            <a:miter lim="800000"/>
            <a:headEnd type="none" w="sm" len="sm"/>
            <a:tailEnd type="arrow" w="sm" len="sm"/>
          </a:ln>
          <a:effectLst/>
        </p:spPr>
      </p:cxnSp>
      <p:cxnSp>
        <p:nvCxnSpPr>
          <p:cNvPr id="362" name="Straight Arrow Connector 361"/>
          <p:cNvCxnSpPr/>
          <p:nvPr/>
        </p:nvCxnSpPr>
        <p:spPr>
          <a:xfrm>
            <a:off x="7956376" y="2823733"/>
            <a:ext cx="628824" cy="0"/>
          </a:xfrm>
          <a:prstGeom prst="straightConnector1">
            <a:avLst/>
          </a:prstGeom>
          <a:noFill/>
          <a:ln w="12700" cap="flat" cmpd="sng" algn="ctr">
            <a:solidFill>
              <a:schemeClr val="accent3"/>
            </a:solidFill>
            <a:prstDash val="solid"/>
            <a:miter lim="800000"/>
            <a:headEnd type="none" w="sm" len="sm"/>
            <a:tailEnd type="arrow" w="sm" len="sm"/>
          </a:ln>
          <a:effectLst/>
        </p:spPr>
      </p:cxnSp>
      <p:sp>
        <p:nvSpPr>
          <p:cNvPr id="4" name="Arrow: Down 3">
            <a:extLst>
              <a:ext uri="{FF2B5EF4-FFF2-40B4-BE49-F238E27FC236}">
                <a16:creationId xmlns:a16="http://schemas.microsoft.com/office/drawing/2014/main" id="{385BB298-D99C-4E82-9CBA-9981AAF5A6AA}"/>
              </a:ext>
            </a:extLst>
          </p:cNvPr>
          <p:cNvSpPr/>
          <p:nvPr/>
        </p:nvSpPr>
        <p:spPr>
          <a:xfrm>
            <a:off x="2183363" y="874760"/>
            <a:ext cx="859955" cy="1335627"/>
          </a:xfrm>
          <a:prstGeom prst="down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fi-FI" sz="1200" dirty="0">
              <a:solidFill>
                <a:schemeClr val="bg1"/>
              </a:solidFill>
              <a:latin typeface="Nokia Pure Text Light" panose="020B0403020202020204" pitchFamily="34" charset="0"/>
              <a:ea typeface="Nokia Pure Text Light" panose="020B0403020202020204" pitchFamily="34" charset="0"/>
            </a:endParaRPr>
          </a:p>
        </p:txBody>
      </p:sp>
      <p:sp>
        <p:nvSpPr>
          <p:cNvPr id="110" name="Arrow: Down 109">
            <a:extLst>
              <a:ext uri="{FF2B5EF4-FFF2-40B4-BE49-F238E27FC236}">
                <a16:creationId xmlns:a16="http://schemas.microsoft.com/office/drawing/2014/main" id="{9482FB75-9D9F-4E5C-9DF8-7DFCD435A409}"/>
              </a:ext>
            </a:extLst>
          </p:cNvPr>
          <p:cNvSpPr/>
          <p:nvPr/>
        </p:nvSpPr>
        <p:spPr>
          <a:xfrm>
            <a:off x="4111277" y="874760"/>
            <a:ext cx="859955" cy="1335627"/>
          </a:xfrm>
          <a:prstGeom prst="down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fi-FI" sz="1200" dirty="0">
              <a:solidFill>
                <a:schemeClr val="bg1"/>
              </a:solidFill>
              <a:latin typeface="Nokia Pure Text Light" panose="020B0403020202020204" pitchFamily="34" charset="0"/>
              <a:ea typeface="Nokia Pure Text Light" panose="020B0403020202020204" pitchFamily="34" charset="0"/>
            </a:endParaRPr>
          </a:p>
        </p:txBody>
      </p:sp>
      <p:sp>
        <p:nvSpPr>
          <p:cNvPr id="111" name="Arrow: Down 110">
            <a:extLst>
              <a:ext uri="{FF2B5EF4-FFF2-40B4-BE49-F238E27FC236}">
                <a16:creationId xmlns:a16="http://schemas.microsoft.com/office/drawing/2014/main" id="{59003935-176A-40ED-BB97-4B7AEB1A0EE8}"/>
              </a:ext>
            </a:extLst>
          </p:cNvPr>
          <p:cNvSpPr/>
          <p:nvPr/>
        </p:nvSpPr>
        <p:spPr>
          <a:xfrm>
            <a:off x="6079312" y="874760"/>
            <a:ext cx="859955" cy="1335627"/>
          </a:xfrm>
          <a:prstGeom prst="down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fi-FI" sz="1200" dirty="0">
              <a:solidFill>
                <a:schemeClr val="bg1"/>
              </a:solidFill>
              <a:latin typeface="Nokia Pure Text Light" panose="020B0403020202020204" pitchFamily="34" charset="0"/>
              <a:ea typeface="Nokia Pure Text Light" panose="020B0403020202020204" pitchFamily="34" charset="0"/>
            </a:endParaRPr>
          </a:p>
        </p:txBody>
      </p:sp>
    </p:spTree>
    <p:extLst>
      <p:ext uri="{BB962C8B-B14F-4D97-AF65-F5344CB8AC3E}">
        <p14:creationId xmlns:p14="http://schemas.microsoft.com/office/powerpoint/2010/main" val="1559690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0" grpId="0" animBg="1"/>
      <p:bldP spid="1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D2179913-7E89-42AD-8B46-DBB77FAA8039}"/>
              </a:ext>
            </a:extLst>
          </p:cNvPr>
          <p:cNvSpPr>
            <a:spLocks noGrp="1"/>
          </p:cNvSpPr>
          <p:nvPr>
            <p:ph idx="1"/>
          </p:nvPr>
        </p:nvSpPr>
        <p:spPr/>
        <p:txBody>
          <a:bodyPr lIns="0"/>
          <a:lstStyle/>
          <a:p>
            <a:pPr marL="0" indent="0">
              <a:buNone/>
            </a:pPr>
            <a:endParaRPr lang="en-US" sz="2000" dirty="0"/>
          </a:p>
        </p:txBody>
      </p:sp>
      <p:sp>
        <p:nvSpPr>
          <p:cNvPr id="3" name="Title 2"/>
          <p:cNvSpPr>
            <a:spLocks noGrp="1"/>
          </p:cNvSpPr>
          <p:nvPr>
            <p:ph type="title"/>
          </p:nvPr>
        </p:nvSpPr>
        <p:spPr/>
        <p:txBody>
          <a:bodyPr/>
          <a:lstStyle/>
          <a:p>
            <a:r>
              <a:rPr lang="en-IE" dirty="0">
                <a:solidFill>
                  <a:schemeClr val="tx1"/>
                </a:solidFill>
              </a:rPr>
              <a:t>Scaled Agile Framework</a:t>
            </a:r>
          </a:p>
        </p:txBody>
      </p:sp>
      <p:sp>
        <p:nvSpPr>
          <p:cNvPr id="9" name="Content Placeholder 8">
            <a:extLst>
              <a:ext uri="{FF2B5EF4-FFF2-40B4-BE49-F238E27FC236}">
                <a16:creationId xmlns:a16="http://schemas.microsoft.com/office/drawing/2014/main" id="{8EAE78BD-FAB8-4C6C-AB08-9C08115D34E0}"/>
              </a:ext>
            </a:extLst>
          </p:cNvPr>
          <p:cNvSpPr>
            <a:spLocks noGrp="1"/>
          </p:cNvSpPr>
          <p:nvPr>
            <p:ph sz="quarter" idx="13"/>
          </p:nvPr>
        </p:nvSpPr>
        <p:spPr/>
        <p:txBody>
          <a:bodyPr/>
          <a:lstStyle/>
          <a:p>
            <a:r>
              <a:rPr lang="en-US" dirty="0"/>
              <a:t>Does ET and BH it fit here?</a:t>
            </a:r>
          </a:p>
        </p:txBody>
      </p:sp>
      <p:pic>
        <p:nvPicPr>
          <p:cNvPr id="25602" name="Picture 2" descr="https://www.scaledagileframework.com/wp-content/uploads/2018/07/46BP-ESSENTIAL.png">
            <a:extLst>
              <a:ext uri="{FF2B5EF4-FFF2-40B4-BE49-F238E27FC236}">
                <a16:creationId xmlns:a16="http://schemas.microsoft.com/office/drawing/2014/main" id="{DB72A55F-14A7-49C9-8955-114A3E3EA4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8354" y="1140719"/>
            <a:ext cx="8841153" cy="3324642"/>
          </a:xfrm>
          <a:prstGeom prst="rect">
            <a:avLst/>
          </a:prstGeom>
          <a:noFill/>
          <a:extLst>
            <a:ext uri="{909E8E84-426E-40DD-AFC4-6F175D3DCCD1}">
              <a14:hiddenFill xmlns:a14="http://schemas.microsoft.com/office/drawing/2010/main">
                <a:solidFill>
                  <a:srgbClr val="FFFFFF"/>
                </a:solidFill>
              </a14:hiddenFill>
            </a:ext>
          </a:extLst>
        </p:spPr>
      </p:pic>
      <p:sp>
        <p:nvSpPr>
          <p:cNvPr id="2" name="Arrow: Down 1">
            <a:extLst>
              <a:ext uri="{FF2B5EF4-FFF2-40B4-BE49-F238E27FC236}">
                <a16:creationId xmlns:a16="http://schemas.microsoft.com/office/drawing/2014/main" id="{D575A84B-B8E2-4B16-A08C-C05ECAE46F05}"/>
              </a:ext>
            </a:extLst>
          </p:cNvPr>
          <p:cNvSpPr/>
          <p:nvPr/>
        </p:nvSpPr>
        <p:spPr>
          <a:xfrm>
            <a:off x="3334354" y="1557415"/>
            <a:ext cx="745435" cy="1341782"/>
          </a:xfrm>
          <a:prstGeom prst="downArrow">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tIns="90000" bIns="90000" rtlCol="0" anchor="ctr" anchorCtr="0"/>
          <a:lstStyle/>
          <a:p>
            <a:pPr algn="ctr" fontAlgn="auto">
              <a:spcBef>
                <a:spcPts val="0"/>
              </a:spcBef>
              <a:spcAft>
                <a:spcPts val="0"/>
              </a:spcAft>
            </a:pPr>
            <a:r>
              <a:rPr lang="en-US" b="1" dirty="0">
                <a:solidFill>
                  <a:schemeClr val="bg1"/>
                </a:solidFill>
              </a:rPr>
              <a:t>ET</a:t>
            </a:r>
            <a:endParaRPr lang="fi-FI" b="1" dirty="0">
              <a:solidFill>
                <a:schemeClr val="bg1"/>
              </a:solidFill>
            </a:endParaRPr>
          </a:p>
        </p:txBody>
      </p:sp>
      <p:sp>
        <p:nvSpPr>
          <p:cNvPr id="8" name="Arrow: Down 7">
            <a:extLst>
              <a:ext uri="{FF2B5EF4-FFF2-40B4-BE49-F238E27FC236}">
                <a16:creationId xmlns:a16="http://schemas.microsoft.com/office/drawing/2014/main" id="{4B0DCE34-56B9-443F-850B-4C61B7608182}"/>
              </a:ext>
            </a:extLst>
          </p:cNvPr>
          <p:cNvSpPr/>
          <p:nvPr/>
        </p:nvSpPr>
        <p:spPr>
          <a:xfrm>
            <a:off x="3635124" y="1557415"/>
            <a:ext cx="745435" cy="1341782"/>
          </a:xfrm>
          <a:prstGeom prst="downArrow">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tIns="90000" bIns="90000" rtlCol="0" anchor="ctr" anchorCtr="0"/>
          <a:lstStyle/>
          <a:p>
            <a:pPr algn="ctr" fontAlgn="auto">
              <a:spcBef>
                <a:spcPts val="0"/>
              </a:spcBef>
              <a:spcAft>
                <a:spcPts val="0"/>
              </a:spcAft>
            </a:pPr>
            <a:r>
              <a:rPr lang="en-US" b="1" dirty="0">
                <a:solidFill>
                  <a:schemeClr val="bg1"/>
                </a:solidFill>
              </a:rPr>
              <a:t>ET</a:t>
            </a:r>
            <a:endParaRPr lang="fi-FI" b="1" dirty="0">
              <a:solidFill>
                <a:schemeClr val="bg1"/>
              </a:solidFill>
            </a:endParaRPr>
          </a:p>
        </p:txBody>
      </p:sp>
      <p:sp>
        <p:nvSpPr>
          <p:cNvPr id="12" name="Arrow: Down 11">
            <a:extLst>
              <a:ext uri="{FF2B5EF4-FFF2-40B4-BE49-F238E27FC236}">
                <a16:creationId xmlns:a16="http://schemas.microsoft.com/office/drawing/2014/main" id="{C36A6658-ADBE-4ACE-BD98-428152DA21BA}"/>
              </a:ext>
            </a:extLst>
          </p:cNvPr>
          <p:cNvSpPr/>
          <p:nvPr/>
        </p:nvSpPr>
        <p:spPr>
          <a:xfrm>
            <a:off x="3950428" y="1557415"/>
            <a:ext cx="745435" cy="1341782"/>
          </a:xfrm>
          <a:prstGeom prst="downArrow">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tIns="90000" bIns="90000" rtlCol="0" anchor="ctr" anchorCtr="0"/>
          <a:lstStyle/>
          <a:p>
            <a:pPr algn="ctr" fontAlgn="auto">
              <a:spcBef>
                <a:spcPts val="0"/>
              </a:spcBef>
              <a:spcAft>
                <a:spcPts val="0"/>
              </a:spcAft>
            </a:pPr>
            <a:r>
              <a:rPr lang="en-US" b="1" dirty="0">
                <a:solidFill>
                  <a:schemeClr val="bg1"/>
                </a:solidFill>
              </a:rPr>
              <a:t>ET</a:t>
            </a:r>
            <a:endParaRPr lang="fi-FI" b="1" dirty="0">
              <a:solidFill>
                <a:schemeClr val="bg1"/>
              </a:solidFill>
            </a:endParaRPr>
          </a:p>
        </p:txBody>
      </p:sp>
      <p:sp>
        <p:nvSpPr>
          <p:cNvPr id="13" name="Arrow: Down 12">
            <a:extLst>
              <a:ext uri="{FF2B5EF4-FFF2-40B4-BE49-F238E27FC236}">
                <a16:creationId xmlns:a16="http://schemas.microsoft.com/office/drawing/2014/main" id="{1CF829C8-10EB-4E67-913E-5CF71801FD33}"/>
              </a:ext>
            </a:extLst>
          </p:cNvPr>
          <p:cNvSpPr/>
          <p:nvPr/>
        </p:nvSpPr>
        <p:spPr>
          <a:xfrm>
            <a:off x="4221006" y="1557415"/>
            <a:ext cx="745435" cy="1341782"/>
          </a:xfrm>
          <a:prstGeom prst="downArrow">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tIns="90000" bIns="90000" rtlCol="0" anchor="ctr" anchorCtr="0"/>
          <a:lstStyle/>
          <a:p>
            <a:pPr algn="ctr" fontAlgn="auto">
              <a:spcBef>
                <a:spcPts val="0"/>
              </a:spcBef>
              <a:spcAft>
                <a:spcPts val="0"/>
              </a:spcAft>
            </a:pPr>
            <a:r>
              <a:rPr lang="en-US" b="1" dirty="0">
                <a:solidFill>
                  <a:schemeClr val="bg1"/>
                </a:solidFill>
              </a:rPr>
              <a:t>ET</a:t>
            </a:r>
            <a:endParaRPr lang="fi-FI" b="1" dirty="0">
              <a:solidFill>
                <a:schemeClr val="bg1"/>
              </a:solidFill>
            </a:endParaRPr>
          </a:p>
        </p:txBody>
      </p:sp>
      <p:sp>
        <p:nvSpPr>
          <p:cNvPr id="14" name="Arrow: Down 13">
            <a:extLst>
              <a:ext uri="{FF2B5EF4-FFF2-40B4-BE49-F238E27FC236}">
                <a16:creationId xmlns:a16="http://schemas.microsoft.com/office/drawing/2014/main" id="{90F67CDB-5BAD-492E-BF52-620F8760F0CC}"/>
              </a:ext>
            </a:extLst>
          </p:cNvPr>
          <p:cNvSpPr/>
          <p:nvPr/>
        </p:nvSpPr>
        <p:spPr>
          <a:xfrm>
            <a:off x="4458435" y="1557415"/>
            <a:ext cx="745435" cy="1341782"/>
          </a:xfrm>
          <a:prstGeom prst="downArrow">
            <a:avLst/>
          </a:prstGeom>
          <a:solidFill>
            <a:srgbClr val="00B0F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tIns="90000" bIns="90000" rtlCol="0" anchor="ctr" anchorCtr="0"/>
          <a:lstStyle/>
          <a:p>
            <a:pPr algn="ctr" fontAlgn="auto">
              <a:spcBef>
                <a:spcPts val="0"/>
              </a:spcBef>
              <a:spcAft>
                <a:spcPts val="0"/>
              </a:spcAft>
            </a:pPr>
            <a:r>
              <a:rPr lang="en-US" b="1" dirty="0">
                <a:solidFill>
                  <a:schemeClr val="bg1"/>
                </a:solidFill>
              </a:rPr>
              <a:t>BH</a:t>
            </a:r>
            <a:endParaRPr lang="fi-FI" b="1" dirty="0">
              <a:solidFill>
                <a:schemeClr val="bg1"/>
              </a:solidFill>
            </a:endParaRPr>
          </a:p>
        </p:txBody>
      </p:sp>
      <p:sp>
        <p:nvSpPr>
          <p:cNvPr id="15" name="Rectangle 14">
            <a:extLst>
              <a:ext uri="{FF2B5EF4-FFF2-40B4-BE49-F238E27FC236}">
                <a16:creationId xmlns:a16="http://schemas.microsoft.com/office/drawing/2014/main" id="{F277DB1F-AB32-467C-B847-4E9238207C6A}"/>
              </a:ext>
            </a:extLst>
          </p:cNvPr>
          <p:cNvSpPr/>
          <p:nvPr/>
        </p:nvSpPr>
        <p:spPr>
          <a:xfrm>
            <a:off x="4328699" y="4403034"/>
            <a:ext cx="3483458" cy="600164"/>
          </a:xfrm>
          <a:prstGeom prst="rect">
            <a:avLst/>
          </a:prstGeom>
        </p:spPr>
        <p:txBody>
          <a:bodyPr wrap="square">
            <a:spAutoFit/>
          </a:bodyPr>
          <a:lstStyle/>
          <a:p>
            <a:br>
              <a:rPr lang="en-US" sz="1100" dirty="0"/>
            </a:br>
            <a:r>
              <a:rPr lang="en-US" sz="1100" dirty="0"/>
              <a:t>© Scaled Agile, Inc.</a:t>
            </a:r>
            <a:br>
              <a:rPr lang="en-US" sz="1100" dirty="0"/>
            </a:br>
            <a:r>
              <a:rPr lang="en-US" sz="1100" dirty="0"/>
              <a:t>Include this copyright notice with the copied content.</a:t>
            </a:r>
            <a:endParaRPr lang="fi-FI" sz="1100" dirty="0"/>
          </a:p>
        </p:txBody>
      </p:sp>
    </p:spTree>
    <p:extLst>
      <p:ext uri="{BB962C8B-B14F-4D97-AF65-F5344CB8AC3E}">
        <p14:creationId xmlns:p14="http://schemas.microsoft.com/office/powerpoint/2010/main" val="41133513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 grpId="0" animBg="1"/>
      <p:bldP spid="12" grpId="0" animBg="1"/>
      <p:bldP spid="13" grpId="0" animBg="1"/>
      <p:bldP spid="14"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E" dirty="0">
                <a:solidFill>
                  <a:schemeClr val="tx1"/>
                </a:solidFill>
              </a:rPr>
              <a:t>Scaled Agile Framework</a:t>
            </a:r>
          </a:p>
        </p:txBody>
      </p:sp>
      <p:sp>
        <p:nvSpPr>
          <p:cNvPr id="9" name="Content Placeholder 8">
            <a:extLst>
              <a:ext uri="{FF2B5EF4-FFF2-40B4-BE49-F238E27FC236}">
                <a16:creationId xmlns:a16="http://schemas.microsoft.com/office/drawing/2014/main" id="{8EAE78BD-FAB8-4C6C-AB08-9C08115D34E0}"/>
              </a:ext>
            </a:extLst>
          </p:cNvPr>
          <p:cNvSpPr>
            <a:spLocks noGrp="1"/>
          </p:cNvSpPr>
          <p:nvPr>
            <p:ph sz="quarter" idx="13"/>
          </p:nvPr>
        </p:nvSpPr>
        <p:spPr/>
        <p:txBody>
          <a:bodyPr/>
          <a:lstStyle/>
          <a:p>
            <a:r>
              <a:rPr lang="en-US" dirty="0"/>
              <a:t>Play Bug Hunting during Innovation and Planning Iteration!</a:t>
            </a:r>
          </a:p>
        </p:txBody>
      </p:sp>
      <p:sp>
        <p:nvSpPr>
          <p:cNvPr id="4" name="Text Placeholder 3">
            <a:extLst>
              <a:ext uri="{FF2B5EF4-FFF2-40B4-BE49-F238E27FC236}">
                <a16:creationId xmlns:a16="http://schemas.microsoft.com/office/drawing/2014/main" id="{F2220422-15C5-4EE1-ABB6-7F713260F919}"/>
              </a:ext>
            </a:extLst>
          </p:cNvPr>
          <p:cNvSpPr>
            <a:spLocks noGrp="1"/>
          </p:cNvSpPr>
          <p:nvPr>
            <p:ph type="body" sz="quarter" idx="16"/>
          </p:nvPr>
        </p:nvSpPr>
        <p:spPr>
          <a:xfrm>
            <a:off x="423863" y="1087438"/>
            <a:ext cx="4032250" cy="2544762"/>
          </a:xfrm>
        </p:spPr>
        <p:txBody>
          <a:bodyPr/>
          <a:lstStyle/>
          <a:p>
            <a:pPr marL="457200" indent="-457200">
              <a:buFont typeface="Arial" panose="020B0604020202020204" pitchFamily="34" charset="0"/>
              <a:buChar char="•"/>
            </a:pPr>
            <a:endParaRPr lang="fi-FI" sz="2000" dirty="0"/>
          </a:p>
        </p:txBody>
      </p:sp>
      <p:sp>
        <p:nvSpPr>
          <p:cNvPr id="5" name="Text Placeholder 4">
            <a:extLst>
              <a:ext uri="{FF2B5EF4-FFF2-40B4-BE49-F238E27FC236}">
                <a16:creationId xmlns:a16="http://schemas.microsoft.com/office/drawing/2014/main" id="{E683026E-E342-4A3C-A143-986E255A7BAD}"/>
              </a:ext>
            </a:extLst>
          </p:cNvPr>
          <p:cNvSpPr>
            <a:spLocks noGrp="1"/>
          </p:cNvSpPr>
          <p:nvPr>
            <p:ph type="body" sz="quarter" idx="17"/>
          </p:nvPr>
        </p:nvSpPr>
        <p:spPr>
          <a:xfrm>
            <a:off x="5157305" y="1087310"/>
            <a:ext cx="3483457" cy="2544762"/>
          </a:xfrm>
        </p:spPr>
        <p:txBody>
          <a:bodyPr/>
          <a:lstStyle/>
          <a:p>
            <a:pPr marL="457200" indent="-457200">
              <a:buFont typeface="Arial" panose="020B0604020202020204" pitchFamily="34" charset="0"/>
              <a:buChar char="•"/>
            </a:pPr>
            <a:r>
              <a:rPr lang="en-US" sz="1800" dirty="0"/>
              <a:t>…and provides dedicated time for innovation, continuing education…</a:t>
            </a:r>
          </a:p>
          <a:p>
            <a:pPr marL="457200" indent="-457200">
              <a:buFont typeface="Arial" panose="020B0604020202020204" pitchFamily="34" charset="0"/>
              <a:buChar char="•"/>
            </a:pPr>
            <a:r>
              <a:rPr lang="en-US" sz="1800" dirty="0"/>
              <a:t>…exploration</a:t>
            </a:r>
          </a:p>
          <a:p>
            <a:pPr marL="457200" indent="-457200">
              <a:buFont typeface="Arial" panose="020B0604020202020204" pitchFamily="34" charset="0"/>
              <a:buChar char="•"/>
            </a:pPr>
            <a:r>
              <a:rPr lang="en-US" sz="1800" dirty="0"/>
              <a:t>…cross training to develop skills in new domains</a:t>
            </a:r>
          </a:p>
          <a:p>
            <a:pPr marL="457200" indent="-457200">
              <a:buFont typeface="Arial" panose="020B0604020202020204" pitchFamily="34" charset="0"/>
              <a:buChar char="•"/>
            </a:pPr>
            <a:r>
              <a:rPr lang="en-US" sz="1800" dirty="0"/>
              <a:t>team building</a:t>
            </a:r>
          </a:p>
          <a:p>
            <a:pPr marL="457200" indent="-457200">
              <a:buFont typeface="Arial" panose="020B0604020202020204" pitchFamily="34" charset="0"/>
              <a:buChar char="•"/>
            </a:pPr>
            <a:r>
              <a:rPr lang="en-US" sz="1800" dirty="0"/>
              <a:t>pair working</a:t>
            </a:r>
            <a:endParaRPr lang="fi-FI" sz="1800" dirty="0"/>
          </a:p>
          <a:p>
            <a:pPr marL="285750" indent="-285750">
              <a:buFont typeface="Arial" panose="020B0604020202020204" pitchFamily="34" charset="0"/>
              <a:buChar char="•"/>
            </a:pPr>
            <a:endParaRPr lang="fi-FI" sz="1800" dirty="0"/>
          </a:p>
        </p:txBody>
      </p:sp>
      <p:sp>
        <p:nvSpPr>
          <p:cNvPr id="6" name="Rectangle 5">
            <a:extLst>
              <a:ext uri="{FF2B5EF4-FFF2-40B4-BE49-F238E27FC236}">
                <a16:creationId xmlns:a16="http://schemas.microsoft.com/office/drawing/2014/main" id="{4D85A476-3251-4E53-92D0-086C64843AA2}"/>
              </a:ext>
            </a:extLst>
          </p:cNvPr>
          <p:cNvSpPr/>
          <p:nvPr/>
        </p:nvSpPr>
        <p:spPr>
          <a:xfrm>
            <a:off x="4328699" y="4403034"/>
            <a:ext cx="3483458" cy="600164"/>
          </a:xfrm>
          <a:prstGeom prst="rect">
            <a:avLst/>
          </a:prstGeom>
        </p:spPr>
        <p:txBody>
          <a:bodyPr wrap="square">
            <a:spAutoFit/>
          </a:bodyPr>
          <a:lstStyle/>
          <a:p>
            <a:br>
              <a:rPr lang="en-US" sz="1100" dirty="0"/>
            </a:br>
            <a:r>
              <a:rPr lang="en-US" sz="1100" dirty="0"/>
              <a:t>© Scaled Agile, Inc.</a:t>
            </a:r>
            <a:br>
              <a:rPr lang="en-US" sz="1100" dirty="0"/>
            </a:br>
            <a:r>
              <a:rPr lang="en-US" sz="1100" dirty="0"/>
              <a:t>Include this copyright notice with the copied content.</a:t>
            </a:r>
            <a:endParaRPr lang="fi-FI" sz="1100" dirty="0"/>
          </a:p>
        </p:txBody>
      </p:sp>
      <p:pic>
        <p:nvPicPr>
          <p:cNvPr id="43010" name="Picture 2" descr="https://www.scaledagileframework.com/wp-content/uploads/2018/08/Innovation-and-Planning-Nav-Icon.png">
            <a:extLst>
              <a:ext uri="{FF2B5EF4-FFF2-40B4-BE49-F238E27FC236}">
                <a16:creationId xmlns:a16="http://schemas.microsoft.com/office/drawing/2014/main" id="{E0DD4BAF-281C-42BA-AF20-44F63ED0BE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4029" y="1040797"/>
            <a:ext cx="4585597" cy="27360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60039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BBA591CA-DD2E-44DB-A6A1-2520E908F7F5}"/>
              </a:ext>
            </a:extLst>
          </p:cNvPr>
          <p:cNvSpPr>
            <a:spLocks noGrp="1"/>
          </p:cNvSpPr>
          <p:nvPr>
            <p:ph type="title"/>
          </p:nvPr>
        </p:nvSpPr>
        <p:spPr/>
        <p:txBody>
          <a:bodyPr tIns="180000"/>
          <a:lstStyle/>
          <a:p>
            <a:r>
              <a:rPr lang="en-US" dirty="0">
                <a:solidFill>
                  <a:schemeClr val="tx1"/>
                </a:solidFill>
                <a:latin typeface="Nokia Pure Headline Light" panose="020B0304040602060303" pitchFamily="34" charset="0"/>
              </a:rPr>
              <a:t>Agenda for today</a:t>
            </a:r>
          </a:p>
        </p:txBody>
      </p:sp>
      <p:sp>
        <p:nvSpPr>
          <p:cNvPr id="2" name="Content Placeholder 1">
            <a:extLst>
              <a:ext uri="{FF2B5EF4-FFF2-40B4-BE49-F238E27FC236}">
                <a16:creationId xmlns:a16="http://schemas.microsoft.com/office/drawing/2014/main" id="{CBA58F28-68C0-4614-976C-E327B09A4218}"/>
              </a:ext>
            </a:extLst>
          </p:cNvPr>
          <p:cNvSpPr>
            <a:spLocks noGrp="1"/>
          </p:cNvSpPr>
          <p:nvPr>
            <p:ph idx="1"/>
          </p:nvPr>
        </p:nvSpPr>
        <p:spPr/>
        <p:txBody>
          <a:bodyPr/>
          <a:lstStyle/>
          <a:p>
            <a:endParaRPr lang="fi-FI"/>
          </a:p>
        </p:txBody>
      </p:sp>
      <p:sp>
        <p:nvSpPr>
          <p:cNvPr id="5" name="TextBox 4"/>
          <p:cNvSpPr txBox="1"/>
          <p:nvPr/>
        </p:nvSpPr>
        <p:spPr>
          <a:xfrm>
            <a:off x="681059" y="1727699"/>
            <a:ext cx="4879769" cy="432000"/>
          </a:xfrm>
          <a:prstGeom prst="rect">
            <a:avLst/>
          </a:prstGeom>
          <a:gradFill>
            <a:gsLst>
              <a:gs pos="97345">
                <a:srgbClr val="FFFFFF">
                  <a:alpha val="83137"/>
                </a:srgbClr>
              </a:gs>
              <a:gs pos="0">
                <a:srgbClr val="FFFFFF">
                  <a:alpha val="0"/>
                </a:srgbClr>
              </a:gs>
              <a:gs pos="19000">
                <a:srgbClr val="FFFFFF">
                  <a:alpha val="45882"/>
                </a:srgbClr>
              </a:gs>
              <a:gs pos="54000">
                <a:srgbClr val="FFFFFF">
                  <a:alpha val="65098"/>
                </a:srgbClr>
              </a:gs>
            </a:gsLst>
            <a:lin ang="9600000" scaled="0"/>
          </a:gradFill>
        </p:spPr>
        <p:txBody>
          <a:bodyPr wrap="square" lIns="396000" rtlCol="0" anchor="ctr">
            <a:noAutofit/>
          </a:bodyPr>
          <a:lstStyle/>
          <a:p>
            <a:r>
              <a:rPr lang="en-US" sz="1600" dirty="0">
                <a:solidFill>
                  <a:schemeClr val="bg2">
                    <a:lumMod val="75000"/>
                  </a:schemeClr>
                </a:solidFill>
                <a:latin typeface="Nokia Pure Headline Light" panose="020B0304040602060303" pitchFamily="34" charset="0"/>
              </a:rPr>
              <a:t>Exploratory Testing</a:t>
            </a:r>
          </a:p>
        </p:txBody>
      </p:sp>
      <p:sp>
        <p:nvSpPr>
          <p:cNvPr id="6" name="TextBox 5"/>
          <p:cNvSpPr txBox="1"/>
          <p:nvPr/>
        </p:nvSpPr>
        <p:spPr>
          <a:xfrm>
            <a:off x="681060" y="2298909"/>
            <a:ext cx="4879769" cy="432000"/>
          </a:xfrm>
          <a:prstGeom prst="rect">
            <a:avLst/>
          </a:prstGeom>
          <a:gradFill>
            <a:gsLst>
              <a:gs pos="97345">
                <a:srgbClr val="FFFFFF">
                  <a:alpha val="83137"/>
                </a:srgbClr>
              </a:gs>
              <a:gs pos="0">
                <a:srgbClr val="FFFFFF">
                  <a:alpha val="0"/>
                </a:srgbClr>
              </a:gs>
              <a:gs pos="19000">
                <a:srgbClr val="FFFFFF">
                  <a:alpha val="45882"/>
                </a:srgbClr>
              </a:gs>
              <a:gs pos="54000">
                <a:srgbClr val="FFFFFF">
                  <a:alpha val="65098"/>
                </a:srgbClr>
              </a:gs>
            </a:gsLst>
            <a:lin ang="9600000" scaled="0"/>
          </a:gradFill>
        </p:spPr>
        <p:txBody>
          <a:bodyPr wrap="none" lIns="396000" rtlCol="0" anchor="ctr">
            <a:noAutofit/>
          </a:bodyPr>
          <a:lstStyle/>
          <a:p>
            <a:r>
              <a:rPr lang="en-US" sz="1600" dirty="0">
                <a:solidFill>
                  <a:schemeClr val="bg2">
                    <a:lumMod val="75000"/>
                  </a:schemeClr>
                </a:solidFill>
                <a:latin typeface="Nokia Pure Headline Light" panose="020B0304040602060303" pitchFamily="34" charset="0"/>
              </a:rPr>
              <a:t>Bug Hunting</a:t>
            </a:r>
          </a:p>
        </p:txBody>
      </p:sp>
      <p:sp>
        <p:nvSpPr>
          <p:cNvPr id="7" name="TextBox 6"/>
          <p:cNvSpPr txBox="1"/>
          <p:nvPr/>
        </p:nvSpPr>
        <p:spPr>
          <a:xfrm>
            <a:off x="681060" y="2870118"/>
            <a:ext cx="4879769" cy="432000"/>
          </a:xfrm>
          <a:prstGeom prst="rect">
            <a:avLst/>
          </a:prstGeom>
          <a:gradFill>
            <a:gsLst>
              <a:gs pos="97345">
                <a:srgbClr val="FFFFFF">
                  <a:alpha val="83137"/>
                </a:srgbClr>
              </a:gs>
              <a:gs pos="0">
                <a:srgbClr val="FFFFFF">
                  <a:alpha val="0"/>
                </a:srgbClr>
              </a:gs>
              <a:gs pos="19000">
                <a:srgbClr val="FFFFFF">
                  <a:alpha val="45882"/>
                </a:srgbClr>
              </a:gs>
              <a:gs pos="54000">
                <a:srgbClr val="FFFFFF">
                  <a:alpha val="65098"/>
                </a:srgbClr>
              </a:gs>
            </a:gsLst>
            <a:lin ang="9600000" scaled="0"/>
          </a:gradFill>
        </p:spPr>
        <p:txBody>
          <a:bodyPr wrap="none" lIns="396000" rtlCol="0" anchor="ctr">
            <a:noAutofit/>
          </a:bodyPr>
          <a:lstStyle/>
          <a:p>
            <a:r>
              <a:rPr lang="en-US" sz="1600" dirty="0">
                <a:solidFill>
                  <a:schemeClr val="bg2">
                    <a:lumMod val="75000"/>
                  </a:schemeClr>
                </a:solidFill>
                <a:latin typeface="Nokia Pure Headline Light" panose="020B0304040602060303" pitchFamily="34" charset="0"/>
              </a:rPr>
              <a:t>Fit to DevOps and SAFe</a:t>
            </a:r>
            <a:endParaRPr lang="en-US" sz="1600" dirty="0">
              <a:solidFill>
                <a:schemeClr val="bg2"/>
              </a:solidFill>
              <a:latin typeface="Nokia Pure Headline Light" panose="020B0304040602060303" pitchFamily="34" charset="0"/>
            </a:endParaRPr>
          </a:p>
        </p:txBody>
      </p:sp>
      <p:sp>
        <p:nvSpPr>
          <p:cNvPr id="8" name="Oval 7"/>
          <p:cNvSpPr/>
          <p:nvPr/>
        </p:nvSpPr>
        <p:spPr>
          <a:xfrm>
            <a:off x="491146" y="2289535"/>
            <a:ext cx="432000" cy="432000"/>
          </a:xfrm>
          <a:prstGeom prst="ellipse">
            <a:avLst/>
          </a:prstGeom>
          <a:solidFill>
            <a:schemeClr val="bg2">
              <a:lumMod val="20000"/>
              <a:lumOff val="80000"/>
            </a:schemeClr>
          </a:solidFill>
          <a:ln w="28575">
            <a:solidFill>
              <a:schemeClr val="bg1"/>
            </a:solidFill>
          </a:ln>
        </p:spPr>
        <p:txBody>
          <a:bodyPr wrap="none" lIns="90000" rtlCol="0" anchor="ctr">
            <a:noAutofit/>
          </a:bodyPr>
          <a:lstStyle/>
          <a:p>
            <a:pPr algn="ctr"/>
            <a:r>
              <a:rPr lang="en-US" sz="2400" b="1" dirty="0">
                <a:solidFill>
                  <a:schemeClr val="bg1"/>
                </a:solidFill>
              </a:rPr>
              <a:t>2</a:t>
            </a:r>
          </a:p>
        </p:txBody>
      </p:sp>
      <p:sp>
        <p:nvSpPr>
          <p:cNvPr id="9" name="Oval 8"/>
          <p:cNvSpPr/>
          <p:nvPr/>
        </p:nvSpPr>
        <p:spPr>
          <a:xfrm>
            <a:off x="491146" y="2860808"/>
            <a:ext cx="432000" cy="432000"/>
          </a:xfrm>
          <a:prstGeom prst="ellipse">
            <a:avLst/>
          </a:prstGeom>
          <a:solidFill>
            <a:schemeClr val="bg2">
              <a:lumMod val="20000"/>
              <a:lumOff val="80000"/>
            </a:schemeClr>
          </a:solidFill>
          <a:ln w="28575">
            <a:solidFill>
              <a:schemeClr val="bg1"/>
            </a:solidFill>
          </a:ln>
        </p:spPr>
        <p:txBody>
          <a:bodyPr wrap="none" lIns="90000" rtlCol="0" anchor="ctr">
            <a:noAutofit/>
          </a:bodyPr>
          <a:lstStyle/>
          <a:p>
            <a:pPr algn="ctr"/>
            <a:r>
              <a:rPr lang="en-US" sz="2400" b="1" dirty="0">
                <a:solidFill>
                  <a:schemeClr val="bg1"/>
                </a:solidFill>
                <a:latin typeface="+mn-lt"/>
                <a:ea typeface="ヒラギノ角ゴ Pro W3"/>
                <a:cs typeface="ヒラギノ角ゴ Pro W3"/>
              </a:rPr>
              <a:t>3</a:t>
            </a:r>
          </a:p>
        </p:txBody>
      </p:sp>
      <p:sp>
        <p:nvSpPr>
          <p:cNvPr id="10" name="Oval 9"/>
          <p:cNvSpPr/>
          <p:nvPr/>
        </p:nvSpPr>
        <p:spPr>
          <a:xfrm>
            <a:off x="491146" y="1718262"/>
            <a:ext cx="432000" cy="432000"/>
          </a:xfrm>
          <a:prstGeom prst="ellipse">
            <a:avLst/>
          </a:prstGeom>
          <a:solidFill>
            <a:schemeClr val="bg2">
              <a:lumMod val="20000"/>
              <a:lumOff val="80000"/>
            </a:schemeClr>
          </a:solidFill>
          <a:ln w="28575">
            <a:solidFill>
              <a:schemeClr val="bg1"/>
            </a:solidFill>
          </a:ln>
        </p:spPr>
        <p:txBody>
          <a:bodyPr wrap="none" lIns="90000" rtlCol="0" anchor="ctr">
            <a:noAutofit/>
          </a:bodyPr>
          <a:lstStyle/>
          <a:p>
            <a:pPr algn="ctr"/>
            <a:r>
              <a:rPr lang="en-US" sz="2400" b="1">
                <a:solidFill>
                  <a:schemeClr val="bg1"/>
                </a:solidFill>
              </a:rPr>
              <a:t>1</a:t>
            </a:r>
            <a:endParaRPr lang="en-US" sz="2400" b="1" dirty="0">
              <a:solidFill>
                <a:schemeClr val="bg1"/>
              </a:solidFill>
            </a:endParaRPr>
          </a:p>
        </p:txBody>
      </p:sp>
      <p:sp>
        <p:nvSpPr>
          <p:cNvPr id="11" name="TextBox 10"/>
          <p:cNvSpPr txBox="1"/>
          <p:nvPr/>
        </p:nvSpPr>
        <p:spPr>
          <a:xfrm>
            <a:off x="682820" y="3432017"/>
            <a:ext cx="4879769" cy="432000"/>
          </a:xfrm>
          <a:prstGeom prst="rect">
            <a:avLst/>
          </a:prstGeom>
          <a:gradFill>
            <a:gsLst>
              <a:gs pos="97345">
                <a:srgbClr val="FFFFFF">
                  <a:alpha val="83137"/>
                </a:srgbClr>
              </a:gs>
              <a:gs pos="0">
                <a:srgbClr val="FFFFFF">
                  <a:alpha val="0"/>
                </a:srgbClr>
              </a:gs>
              <a:gs pos="19000">
                <a:srgbClr val="FFFFFF">
                  <a:alpha val="45882"/>
                </a:srgbClr>
              </a:gs>
              <a:gs pos="54000">
                <a:srgbClr val="FFFFFF">
                  <a:alpha val="65098"/>
                </a:srgbClr>
              </a:gs>
            </a:gsLst>
            <a:lin ang="9600000" scaled="0"/>
          </a:gradFill>
        </p:spPr>
        <p:txBody>
          <a:bodyPr wrap="none" lIns="396000" rtlCol="0" anchor="ctr">
            <a:noAutofit/>
          </a:bodyPr>
          <a:lstStyle>
            <a:defPPr>
              <a:defRPr lang="en-US"/>
            </a:defPPr>
            <a:lvl1pPr>
              <a:defRPr sz="1600">
                <a:solidFill>
                  <a:schemeClr val="bg2">
                    <a:lumMod val="75000"/>
                  </a:schemeClr>
                </a:solidFill>
                <a:latin typeface="Nokia Pure Headline Light" panose="020B0304040602060303" pitchFamily="34" charset="0"/>
              </a:defRPr>
            </a:lvl1pPr>
          </a:lstStyle>
          <a:p>
            <a:r>
              <a:rPr lang="en-US" dirty="0"/>
              <a:t>Summary</a:t>
            </a:r>
          </a:p>
        </p:txBody>
      </p:sp>
      <p:sp>
        <p:nvSpPr>
          <p:cNvPr id="12" name="Oval 11"/>
          <p:cNvSpPr/>
          <p:nvPr/>
        </p:nvSpPr>
        <p:spPr>
          <a:xfrm>
            <a:off x="492906" y="3422707"/>
            <a:ext cx="432000" cy="432000"/>
          </a:xfrm>
          <a:prstGeom prst="ellipse">
            <a:avLst/>
          </a:prstGeom>
          <a:solidFill>
            <a:schemeClr val="bg2"/>
          </a:solidFill>
          <a:ln w="28575">
            <a:solidFill>
              <a:schemeClr val="bg1"/>
            </a:solidFill>
          </a:ln>
        </p:spPr>
        <p:txBody>
          <a:bodyPr wrap="none" lIns="90000" rtlCol="0" anchor="ctr">
            <a:noAutofit/>
          </a:bodyPr>
          <a:lstStyle/>
          <a:p>
            <a:pPr algn="ctr"/>
            <a:r>
              <a:rPr lang="en-US" sz="2400" b="1" dirty="0">
                <a:solidFill>
                  <a:schemeClr val="bg1"/>
                </a:solidFill>
                <a:latin typeface="+mn-lt"/>
              </a:rPr>
              <a:t>4</a:t>
            </a:r>
          </a:p>
        </p:txBody>
      </p:sp>
    </p:spTree>
    <p:extLst>
      <p:ext uri="{BB962C8B-B14F-4D97-AF65-F5344CB8AC3E}">
        <p14:creationId xmlns:p14="http://schemas.microsoft.com/office/powerpoint/2010/main" val="12465625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5"/>
          <p:cNvSpPr>
            <a:spLocks noGrp="1"/>
          </p:cNvSpPr>
          <p:nvPr>
            <p:ph type="title"/>
          </p:nvPr>
        </p:nvSpPr>
        <p:spPr/>
        <p:txBody>
          <a:bodyPr/>
          <a:lstStyle/>
          <a:p>
            <a:r>
              <a:rPr lang="en-US" dirty="0">
                <a:solidFill>
                  <a:schemeClr val="bg1"/>
                </a:solidFill>
              </a:rPr>
              <a:t>Lessons Learned</a:t>
            </a:r>
          </a:p>
        </p:txBody>
      </p:sp>
      <p:sp>
        <p:nvSpPr>
          <p:cNvPr id="5" name="Content Placeholder 6"/>
          <p:cNvSpPr>
            <a:spLocks noGrp="1"/>
          </p:cNvSpPr>
          <p:nvPr>
            <p:ph idx="1"/>
          </p:nvPr>
        </p:nvSpPr>
        <p:spPr>
          <a:xfrm>
            <a:off x="417513" y="1079500"/>
            <a:ext cx="8228256" cy="3560763"/>
          </a:xfrm>
          <a:solidFill>
            <a:srgbClr val="FFFFFF">
              <a:alpha val="69804"/>
            </a:srgbClr>
          </a:solidFill>
        </p:spPr>
        <p:txBody>
          <a:bodyPr lIns="180000" rIns="180000" anchor="ctr"/>
          <a:lstStyle/>
          <a:p>
            <a:r>
              <a:rPr lang="en-US" sz="2000" dirty="0">
                <a:solidFill>
                  <a:schemeClr val="tx1"/>
                </a:solidFill>
              </a:rPr>
              <a:t>helps tester to think out of the box</a:t>
            </a:r>
          </a:p>
          <a:p>
            <a:r>
              <a:rPr lang="en-US" sz="2000" dirty="0">
                <a:solidFill>
                  <a:schemeClr val="tx1"/>
                </a:solidFill>
              </a:rPr>
              <a:t>improves team spirit and expertise</a:t>
            </a:r>
          </a:p>
          <a:p>
            <a:r>
              <a:rPr lang="en-US" sz="2000" dirty="0">
                <a:solidFill>
                  <a:schemeClr val="tx1"/>
                </a:solidFill>
              </a:rPr>
              <a:t>need to be planned up-front in Project Plan, not an ad-hoc event</a:t>
            </a:r>
          </a:p>
          <a:p>
            <a:r>
              <a:rPr lang="en-US" sz="2000" dirty="0">
                <a:solidFill>
                  <a:schemeClr val="tx1"/>
                </a:solidFill>
              </a:rPr>
              <a:t>the event needs preparation and time to analyze issues found</a:t>
            </a:r>
          </a:p>
          <a:p>
            <a:r>
              <a:rPr lang="en-US" sz="2000" dirty="0">
                <a:solidFill>
                  <a:schemeClr val="tx1"/>
                </a:solidFill>
              </a:rPr>
              <a:t>complements requirement based testing</a:t>
            </a:r>
          </a:p>
          <a:p>
            <a:r>
              <a:rPr lang="en-US" sz="2000" dirty="0">
                <a:solidFill>
                  <a:schemeClr val="tx1"/>
                </a:solidFill>
              </a:rPr>
              <a:t>can even fit into Automating Everything concepts and Scaled Agile</a:t>
            </a:r>
          </a:p>
        </p:txBody>
      </p:sp>
      <p:sp>
        <p:nvSpPr>
          <p:cNvPr id="6" name="TextBox 5"/>
          <p:cNvSpPr txBox="1"/>
          <p:nvPr/>
        </p:nvSpPr>
        <p:spPr>
          <a:xfrm>
            <a:off x="5928945" y="128885"/>
            <a:ext cx="3070071" cy="923330"/>
          </a:xfrm>
          <a:prstGeom prst="rect">
            <a:avLst/>
          </a:prstGeom>
          <a:noFill/>
        </p:spPr>
        <p:txBody>
          <a:bodyPr wrap="none" rtlCol="0">
            <a:spAutoFit/>
          </a:bodyPr>
          <a:lstStyle/>
          <a:p>
            <a:pPr algn="r"/>
            <a:r>
              <a:rPr lang="en-US" sz="5400" b="1" dirty="0">
                <a:solidFill>
                  <a:schemeClr val="bg1"/>
                </a:solidFill>
              </a:rPr>
              <a:t>…is FUN</a:t>
            </a:r>
          </a:p>
        </p:txBody>
      </p:sp>
      <p:sp>
        <p:nvSpPr>
          <p:cNvPr id="8" name="Content Placeholder 7"/>
          <p:cNvSpPr txBox="1">
            <a:spLocks/>
          </p:cNvSpPr>
          <p:nvPr/>
        </p:nvSpPr>
        <p:spPr>
          <a:xfrm>
            <a:off x="418120" y="537790"/>
            <a:ext cx="8227649" cy="301625"/>
          </a:xfrm>
          <a:prstGeom prst="rect">
            <a:avLst/>
          </a:prstGeom>
        </p:spPr>
        <p:txBody>
          <a:bodyPr lIns="0"/>
          <a:lst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000" dirty="0">
                <a:solidFill>
                  <a:schemeClr val="bg1"/>
                </a:solidFill>
              </a:rPr>
              <a:t>A Bug Hunting event …</a:t>
            </a:r>
          </a:p>
        </p:txBody>
      </p:sp>
    </p:spTree>
    <p:extLst>
      <p:ext uri="{BB962C8B-B14F-4D97-AF65-F5344CB8AC3E}">
        <p14:creationId xmlns:p14="http://schemas.microsoft.com/office/powerpoint/2010/main" val="713581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4942A83-4A17-45F6-9FB9-E0EBC1CECE6F}"/>
              </a:ext>
            </a:extLst>
          </p:cNvPr>
          <p:cNvSpPr>
            <a:spLocks noGrp="1"/>
          </p:cNvSpPr>
          <p:nvPr>
            <p:ph type="title"/>
          </p:nvPr>
        </p:nvSpPr>
        <p:spPr/>
        <p:txBody>
          <a:bodyPr/>
          <a:lstStyle/>
          <a:p>
            <a:r>
              <a:rPr lang="en-US" dirty="0">
                <a:solidFill>
                  <a:schemeClr val="bg1"/>
                </a:solidFill>
              </a:rPr>
              <a:t>My goal is…</a:t>
            </a:r>
          </a:p>
        </p:txBody>
      </p:sp>
      <p:sp>
        <p:nvSpPr>
          <p:cNvPr id="7" name="Content Placeholder 6">
            <a:extLst>
              <a:ext uri="{FF2B5EF4-FFF2-40B4-BE49-F238E27FC236}">
                <a16:creationId xmlns:a16="http://schemas.microsoft.com/office/drawing/2014/main" id="{E3ADE8A6-A3D3-4825-93B5-8F813CEA1E42}"/>
              </a:ext>
            </a:extLst>
          </p:cNvPr>
          <p:cNvSpPr>
            <a:spLocks noGrp="1"/>
          </p:cNvSpPr>
          <p:nvPr>
            <p:ph idx="1"/>
          </p:nvPr>
        </p:nvSpPr>
        <p:spPr/>
        <p:txBody>
          <a:bodyPr anchor="t"/>
          <a:lstStyle/>
          <a:p>
            <a:pPr marL="0" indent="0" algn="r">
              <a:buNone/>
            </a:pPr>
            <a:r>
              <a:rPr lang="en-US" dirty="0">
                <a:solidFill>
                  <a:schemeClr val="bg1"/>
                </a:solidFill>
                <a:latin typeface="Nokia Pure Headline Extra Bold" panose="020B0904040602060303" pitchFamily="34" charset="0"/>
              </a:rPr>
              <a:t>…that YOU start </a:t>
            </a:r>
            <a:br>
              <a:rPr lang="en-US" dirty="0">
                <a:solidFill>
                  <a:schemeClr val="bg1"/>
                </a:solidFill>
                <a:latin typeface="Nokia Pure Headline Extra Bold" panose="020B0904040602060303" pitchFamily="34" charset="0"/>
              </a:rPr>
            </a:br>
            <a:r>
              <a:rPr lang="en-US" dirty="0">
                <a:solidFill>
                  <a:schemeClr val="bg1"/>
                </a:solidFill>
                <a:latin typeface="Nokia Pure Headline Extra Bold" panose="020B0904040602060303" pitchFamily="34" charset="0"/>
              </a:rPr>
              <a:t>DOING Bug Hunting</a:t>
            </a:r>
            <a:br>
              <a:rPr lang="en-US" dirty="0">
                <a:solidFill>
                  <a:schemeClr val="bg1"/>
                </a:solidFill>
                <a:latin typeface="Nokia Pure Headline Extra Bold" panose="020B0904040602060303" pitchFamily="34" charset="0"/>
              </a:rPr>
            </a:br>
            <a:r>
              <a:rPr lang="en-US" dirty="0">
                <a:solidFill>
                  <a:schemeClr val="bg1"/>
                </a:solidFill>
                <a:latin typeface="Nokia Pure Headline Extra Bold" panose="020B0904040602060303" pitchFamily="34" charset="0"/>
              </a:rPr>
              <a:t>from tomorrow!</a:t>
            </a:r>
          </a:p>
        </p:txBody>
      </p:sp>
    </p:spTree>
    <p:extLst>
      <p:ext uri="{BB962C8B-B14F-4D97-AF65-F5344CB8AC3E}">
        <p14:creationId xmlns:p14="http://schemas.microsoft.com/office/powerpoint/2010/main" val="40246901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BBA591CA-DD2E-44DB-A6A1-2520E908F7F5}"/>
              </a:ext>
            </a:extLst>
          </p:cNvPr>
          <p:cNvSpPr>
            <a:spLocks noGrp="1"/>
          </p:cNvSpPr>
          <p:nvPr>
            <p:ph type="title"/>
          </p:nvPr>
        </p:nvSpPr>
        <p:spPr/>
        <p:txBody>
          <a:bodyPr tIns="180000"/>
          <a:lstStyle/>
          <a:p>
            <a:r>
              <a:rPr lang="en-US" dirty="0">
                <a:solidFill>
                  <a:schemeClr val="tx1"/>
                </a:solidFill>
                <a:latin typeface="Nokia Pure Headline Light" panose="020B0304040602060303" pitchFamily="34" charset="0"/>
              </a:rPr>
              <a:t>Agenda for today</a:t>
            </a:r>
          </a:p>
        </p:txBody>
      </p:sp>
      <p:sp>
        <p:nvSpPr>
          <p:cNvPr id="2" name="Content Placeholder 1">
            <a:extLst>
              <a:ext uri="{FF2B5EF4-FFF2-40B4-BE49-F238E27FC236}">
                <a16:creationId xmlns:a16="http://schemas.microsoft.com/office/drawing/2014/main" id="{391BFE03-4AEE-4ADB-BC5B-402DDBFFC2E0}"/>
              </a:ext>
            </a:extLst>
          </p:cNvPr>
          <p:cNvSpPr>
            <a:spLocks noGrp="1"/>
          </p:cNvSpPr>
          <p:nvPr>
            <p:ph idx="1"/>
          </p:nvPr>
        </p:nvSpPr>
        <p:spPr/>
        <p:txBody>
          <a:bodyPr/>
          <a:lstStyle/>
          <a:p>
            <a:endParaRPr lang="fi-FI"/>
          </a:p>
        </p:txBody>
      </p:sp>
      <p:sp>
        <p:nvSpPr>
          <p:cNvPr id="5" name="TextBox 4"/>
          <p:cNvSpPr txBox="1"/>
          <p:nvPr/>
        </p:nvSpPr>
        <p:spPr>
          <a:xfrm>
            <a:off x="681059" y="1727699"/>
            <a:ext cx="4879769" cy="432000"/>
          </a:xfrm>
          <a:prstGeom prst="rect">
            <a:avLst/>
          </a:prstGeom>
          <a:gradFill>
            <a:gsLst>
              <a:gs pos="97345">
                <a:srgbClr val="FFFFFF">
                  <a:alpha val="83137"/>
                </a:srgbClr>
              </a:gs>
              <a:gs pos="0">
                <a:srgbClr val="FFFFFF">
                  <a:alpha val="0"/>
                </a:srgbClr>
              </a:gs>
              <a:gs pos="19000">
                <a:srgbClr val="FFFFFF">
                  <a:alpha val="45882"/>
                </a:srgbClr>
              </a:gs>
              <a:gs pos="54000">
                <a:srgbClr val="FFFFFF">
                  <a:alpha val="65098"/>
                </a:srgbClr>
              </a:gs>
            </a:gsLst>
            <a:lin ang="9600000" scaled="0"/>
          </a:gradFill>
        </p:spPr>
        <p:txBody>
          <a:bodyPr wrap="square" lIns="396000" rtlCol="0" anchor="ctr">
            <a:noAutofit/>
          </a:bodyPr>
          <a:lstStyle/>
          <a:p>
            <a:r>
              <a:rPr lang="en-US" sz="1600" dirty="0">
                <a:solidFill>
                  <a:schemeClr val="bg2">
                    <a:lumMod val="75000"/>
                  </a:schemeClr>
                </a:solidFill>
                <a:latin typeface="Nokia Pure Headline Light" panose="020B0304040602060303" pitchFamily="34" charset="0"/>
              </a:rPr>
              <a:t>Exploratory Testing</a:t>
            </a:r>
          </a:p>
        </p:txBody>
      </p:sp>
      <p:sp>
        <p:nvSpPr>
          <p:cNvPr id="6" name="TextBox 5"/>
          <p:cNvSpPr txBox="1"/>
          <p:nvPr/>
        </p:nvSpPr>
        <p:spPr>
          <a:xfrm>
            <a:off x="681060" y="2298909"/>
            <a:ext cx="4879769" cy="432000"/>
          </a:xfrm>
          <a:prstGeom prst="rect">
            <a:avLst/>
          </a:prstGeom>
          <a:gradFill>
            <a:gsLst>
              <a:gs pos="97345">
                <a:srgbClr val="FFFFFF">
                  <a:alpha val="83137"/>
                </a:srgbClr>
              </a:gs>
              <a:gs pos="0">
                <a:srgbClr val="FFFFFF">
                  <a:alpha val="0"/>
                </a:srgbClr>
              </a:gs>
              <a:gs pos="19000">
                <a:srgbClr val="FFFFFF">
                  <a:alpha val="45882"/>
                </a:srgbClr>
              </a:gs>
              <a:gs pos="54000">
                <a:srgbClr val="FFFFFF">
                  <a:alpha val="65098"/>
                </a:srgbClr>
              </a:gs>
            </a:gsLst>
            <a:lin ang="9600000" scaled="0"/>
          </a:gradFill>
        </p:spPr>
        <p:txBody>
          <a:bodyPr wrap="none" lIns="396000" rtlCol="0" anchor="ctr">
            <a:noAutofit/>
          </a:bodyPr>
          <a:lstStyle/>
          <a:p>
            <a:r>
              <a:rPr lang="en-US" sz="1600" dirty="0">
                <a:solidFill>
                  <a:schemeClr val="bg2">
                    <a:lumMod val="75000"/>
                  </a:schemeClr>
                </a:solidFill>
                <a:latin typeface="Nokia Pure Headline Light" panose="020B0304040602060303" pitchFamily="34" charset="0"/>
              </a:rPr>
              <a:t>Bug Hunting</a:t>
            </a:r>
          </a:p>
        </p:txBody>
      </p:sp>
      <p:sp>
        <p:nvSpPr>
          <p:cNvPr id="7" name="TextBox 6"/>
          <p:cNvSpPr txBox="1"/>
          <p:nvPr/>
        </p:nvSpPr>
        <p:spPr>
          <a:xfrm>
            <a:off x="681060" y="2870118"/>
            <a:ext cx="4879769" cy="432000"/>
          </a:xfrm>
          <a:prstGeom prst="rect">
            <a:avLst/>
          </a:prstGeom>
          <a:gradFill>
            <a:gsLst>
              <a:gs pos="97345">
                <a:srgbClr val="FFFFFF">
                  <a:alpha val="83137"/>
                </a:srgbClr>
              </a:gs>
              <a:gs pos="0">
                <a:srgbClr val="FFFFFF">
                  <a:alpha val="0"/>
                </a:srgbClr>
              </a:gs>
              <a:gs pos="19000">
                <a:srgbClr val="FFFFFF">
                  <a:alpha val="45882"/>
                </a:srgbClr>
              </a:gs>
              <a:gs pos="54000">
                <a:srgbClr val="FFFFFF">
                  <a:alpha val="65098"/>
                </a:srgbClr>
              </a:gs>
            </a:gsLst>
            <a:lin ang="9600000" scaled="0"/>
          </a:gradFill>
        </p:spPr>
        <p:txBody>
          <a:bodyPr wrap="none" lIns="396000" rtlCol="0" anchor="ctr">
            <a:noAutofit/>
          </a:bodyPr>
          <a:lstStyle/>
          <a:p>
            <a:r>
              <a:rPr lang="en-US" sz="1600" dirty="0">
                <a:solidFill>
                  <a:schemeClr val="bg2">
                    <a:lumMod val="75000"/>
                  </a:schemeClr>
                </a:solidFill>
                <a:latin typeface="Nokia Pure Headline Light" panose="020B0304040602060303" pitchFamily="34" charset="0"/>
              </a:rPr>
              <a:t>Fit to DevOps and SAFe</a:t>
            </a:r>
            <a:endParaRPr lang="en-US" sz="1600" dirty="0">
              <a:solidFill>
                <a:schemeClr val="bg2"/>
              </a:solidFill>
              <a:latin typeface="Nokia Pure Headline Light" panose="020B0304040602060303" pitchFamily="34" charset="0"/>
            </a:endParaRPr>
          </a:p>
        </p:txBody>
      </p:sp>
      <p:sp>
        <p:nvSpPr>
          <p:cNvPr id="8" name="Oval 7"/>
          <p:cNvSpPr/>
          <p:nvPr/>
        </p:nvSpPr>
        <p:spPr>
          <a:xfrm>
            <a:off x="491146" y="2289535"/>
            <a:ext cx="432000" cy="432000"/>
          </a:xfrm>
          <a:prstGeom prst="ellipse">
            <a:avLst/>
          </a:prstGeom>
          <a:solidFill>
            <a:schemeClr val="bg2">
              <a:lumMod val="20000"/>
              <a:lumOff val="80000"/>
            </a:schemeClr>
          </a:solidFill>
          <a:ln w="28575">
            <a:solidFill>
              <a:schemeClr val="bg1"/>
            </a:solidFill>
          </a:ln>
        </p:spPr>
        <p:txBody>
          <a:bodyPr wrap="none" lIns="90000" rtlCol="0" anchor="ctr">
            <a:noAutofit/>
          </a:bodyPr>
          <a:lstStyle/>
          <a:p>
            <a:pPr algn="ctr"/>
            <a:r>
              <a:rPr lang="en-US" sz="2400" b="1" dirty="0">
                <a:solidFill>
                  <a:schemeClr val="bg1"/>
                </a:solidFill>
              </a:rPr>
              <a:t>2</a:t>
            </a:r>
          </a:p>
        </p:txBody>
      </p:sp>
      <p:sp>
        <p:nvSpPr>
          <p:cNvPr id="9" name="Oval 8"/>
          <p:cNvSpPr/>
          <p:nvPr/>
        </p:nvSpPr>
        <p:spPr>
          <a:xfrm>
            <a:off x="491146" y="2860808"/>
            <a:ext cx="432000" cy="432000"/>
          </a:xfrm>
          <a:prstGeom prst="ellipse">
            <a:avLst/>
          </a:prstGeom>
          <a:solidFill>
            <a:schemeClr val="bg2">
              <a:lumMod val="20000"/>
              <a:lumOff val="80000"/>
            </a:schemeClr>
          </a:solidFill>
          <a:ln w="28575">
            <a:solidFill>
              <a:schemeClr val="bg1"/>
            </a:solidFill>
          </a:ln>
        </p:spPr>
        <p:txBody>
          <a:bodyPr wrap="none" lIns="90000" rtlCol="0" anchor="ctr">
            <a:noAutofit/>
          </a:bodyPr>
          <a:lstStyle/>
          <a:p>
            <a:pPr algn="ctr"/>
            <a:r>
              <a:rPr lang="en-US" sz="2400" b="1" dirty="0">
                <a:solidFill>
                  <a:schemeClr val="bg1"/>
                </a:solidFill>
                <a:latin typeface="+mn-lt"/>
                <a:ea typeface="ヒラギノ角ゴ Pro W3"/>
                <a:cs typeface="ヒラギノ角ゴ Pro W3"/>
              </a:rPr>
              <a:t>3</a:t>
            </a:r>
          </a:p>
        </p:txBody>
      </p:sp>
      <p:sp>
        <p:nvSpPr>
          <p:cNvPr id="10" name="Oval 9"/>
          <p:cNvSpPr/>
          <p:nvPr/>
        </p:nvSpPr>
        <p:spPr>
          <a:xfrm>
            <a:off x="491146" y="1718262"/>
            <a:ext cx="432000" cy="432000"/>
          </a:xfrm>
          <a:prstGeom prst="ellipse">
            <a:avLst/>
          </a:prstGeom>
          <a:solidFill>
            <a:schemeClr val="bg2"/>
          </a:solidFill>
          <a:ln w="28575">
            <a:solidFill>
              <a:schemeClr val="bg1"/>
            </a:solidFill>
          </a:ln>
        </p:spPr>
        <p:txBody>
          <a:bodyPr wrap="none" lIns="90000" rtlCol="0" anchor="ctr">
            <a:noAutofit/>
          </a:bodyPr>
          <a:lstStyle/>
          <a:p>
            <a:pPr algn="ctr"/>
            <a:r>
              <a:rPr lang="en-US" sz="2400" b="1">
                <a:solidFill>
                  <a:schemeClr val="bg1"/>
                </a:solidFill>
              </a:rPr>
              <a:t>1</a:t>
            </a:r>
            <a:endParaRPr lang="en-US" sz="2400" b="1" dirty="0">
              <a:solidFill>
                <a:schemeClr val="bg1"/>
              </a:solidFill>
            </a:endParaRPr>
          </a:p>
        </p:txBody>
      </p:sp>
      <p:sp>
        <p:nvSpPr>
          <p:cNvPr id="11" name="TextBox 10"/>
          <p:cNvSpPr txBox="1"/>
          <p:nvPr/>
        </p:nvSpPr>
        <p:spPr>
          <a:xfrm>
            <a:off x="682820" y="3432017"/>
            <a:ext cx="4879769" cy="432000"/>
          </a:xfrm>
          <a:prstGeom prst="rect">
            <a:avLst/>
          </a:prstGeom>
          <a:gradFill>
            <a:gsLst>
              <a:gs pos="97345">
                <a:srgbClr val="FFFFFF">
                  <a:alpha val="83137"/>
                </a:srgbClr>
              </a:gs>
              <a:gs pos="0">
                <a:srgbClr val="FFFFFF">
                  <a:alpha val="0"/>
                </a:srgbClr>
              </a:gs>
              <a:gs pos="19000">
                <a:srgbClr val="FFFFFF">
                  <a:alpha val="45882"/>
                </a:srgbClr>
              </a:gs>
              <a:gs pos="54000">
                <a:srgbClr val="FFFFFF">
                  <a:alpha val="65098"/>
                </a:srgbClr>
              </a:gs>
            </a:gsLst>
            <a:lin ang="9600000" scaled="0"/>
          </a:gradFill>
        </p:spPr>
        <p:txBody>
          <a:bodyPr wrap="none" lIns="396000" rtlCol="0" anchor="ctr">
            <a:noAutofit/>
          </a:bodyPr>
          <a:lstStyle>
            <a:defPPr>
              <a:defRPr lang="en-US"/>
            </a:defPPr>
            <a:lvl1pPr>
              <a:defRPr sz="1600">
                <a:solidFill>
                  <a:schemeClr val="bg2">
                    <a:lumMod val="75000"/>
                  </a:schemeClr>
                </a:solidFill>
                <a:latin typeface="Nokia Pure Headline Light" panose="020B0304040602060303" pitchFamily="34" charset="0"/>
              </a:defRPr>
            </a:lvl1pPr>
          </a:lstStyle>
          <a:p>
            <a:r>
              <a:rPr lang="en-US" dirty="0"/>
              <a:t>Summary</a:t>
            </a:r>
          </a:p>
        </p:txBody>
      </p:sp>
      <p:sp>
        <p:nvSpPr>
          <p:cNvPr id="12" name="Oval 11"/>
          <p:cNvSpPr/>
          <p:nvPr/>
        </p:nvSpPr>
        <p:spPr>
          <a:xfrm>
            <a:off x="492906" y="3422707"/>
            <a:ext cx="432000" cy="432000"/>
          </a:xfrm>
          <a:prstGeom prst="ellipse">
            <a:avLst/>
          </a:prstGeom>
          <a:solidFill>
            <a:schemeClr val="bg2">
              <a:lumMod val="20000"/>
              <a:lumOff val="80000"/>
            </a:schemeClr>
          </a:solidFill>
          <a:ln w="28575">
            <a:solidFill>
              <a:schemeClr val="bg1"/>
            </a:solidFill>
          </a:ln>
        </p:spPr>
        <p:txBody>
          <a:bodyPr wrap="none" lIns="90000" rtlCol="0" anchor="ctr">
            <a:noAutofit/>
          </a:bodyPr>
          <a:lstStyle/>
          <a:p>
            <a:pPr algn="ctr"/>
            <a:r>
              <a:rPr lang="en-US" sz="2400" b="1" dirty="0">
                <a:solidFill>
                  <a:schemeClr val="bg1"/>
                </a:solidFill>
                <a:latin typeface="+mn-lt"/>
              </a:rPr>
              <a:t>4</a:t>
            </a:r>
          </a:p>
        </p:txBody>
      </p:sp>
    </p:spTree>
    <p:extLst>
      <p:ext uri="{BB962C8B-B14F-4D97-AF65-F5344CB8AC3E}">
        <p14:creationId xmlns:p14="http://schemas.microsoft.com/office/powerpoint/2010/main" val="26383385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Nokia as a house of Testing</a:t>
            </a:r>
          </a:p>
        </p:txBody>
      </p:sp>
      <p:sp>
        <p:nvSpPr>
          <p:cNvPr id="6" name="Content Placeholder 5"/>
          <p:cNvSpPr>
            <a:spLocks noGrp="1"/>
          </p:cNvSpPr>
          <p:nvPr>
            <p:ph idx="1"/>
          </p:nvPr>
        </p:nvSpPr>
        <p:spPr>
          <a:solidFill>
            <a:srgbClr val="FFFFFF">
              <a:alpha val="69804"/>
            </a:srgbClr>
          </a:solidFill>
        </p:spPr>
        <p:txBody>
          <a:bodyPr lIns="180000" rIns="180000" anchor="ctr"/>
          <a:lstStyle/>
          <a:p>
            <a:r>
              <a:rPr lang="en-US" sz="1800" dirty="0">
                <a:solidFill>
                  <a:schemeClr val="tx1"/>
                </a:solidFill>
              </a:rPr>
              <a:t>Well defined Testing Processes at Company level</a:t>
            </a:r>
          </a:p>
          <a:p>
            <a:r>
              <a:rPr lang="en-US" sz="1800" dirty="0">
                <a:solidFill>
                  <a:schemeClr val="tx1"/>
                </a:solidFill>
              </a:rPr>
              <a:t>Well defined, standardized Requirements as input</a:t>
            </a:r>
          </a:p>
          <a:p>
            <a:r>
              <a:rPr lang="en-US" sz="1800" dirty="0">
                <a:solidFill>
                  <a:schemeClr val="tx1"/>
                </a:solidFill>
              </a:rPr>
              <a:t>ISO9001 and TL9000 compliant processes</a:t>
            </a:r>
          </a:p>
          <a:p>
            <a:r>
              <a:rPr lang="en-US" sz="1800" dirty="0">
                <a:solidFill>
                  <a:schemeClr val="tx1"/>
                </a:solidFill>
              </a:rPr>
              <a:t>Lean Six Sigma</a:t>
            </a:r>
          </a:p>
          <a:p>
            <a:r>
              <a:rPr lang="en-US" sz="1800" dirty="0">
                <a:solidFill>
                  <a:schemeClr val="tx1"/>
                </a:solidFill>
              </a:rPr>
              <a:t>Complex, Highly available (99.999%), Robust Products on IT Cloud and Telco HW</a:t>
            </a:r>
          </a:p>
          <a:p>
            <a:endParaRPr lang="en-US" sz="1800" dirty="0">
              <a:solidFill>
                <a:schemeClr val="tx1"/>
              </a:solidFill>
            </a:endParaRPr>
          </a:p>
        </p:txBody>
      </p:sp>
      <p:sp>
        <p:nvSpPr>
          <p:cNvPr id="7" name="Content Placeholder 6"/>
          <p:cNvSpPr>
            <a:spLocks noGrp="1"/>
          </p:cNvSpPr>
          <p:nvPr>
            <p:ph sz="quarter" idx="4294967295"/>
          </p:nvPr>
        </p:nvSpPr>
        <p:spPr>
          <a:xfrm>
            <a:off x="417512" y="538163"/>
            <a:ext cx="6975475" cy="301625"/>
          </a:xfrm>
        </p:spPr>
        <p:txBody>
          <a:bodyPr/>
          <a:lstStyle/>
          <a:p>
            <a:pPr marL="0" indent="0">
              <a:buNone/>
            </a:pPr>
            <a:r>
              <a:rPr lang="en-US" sz="1800" dirty="0">
                <a:solidFill>
                  <a:schemeClr val="bg1"/>
                </a:solidFill>
              </a:rPr>
              <a:t>Cornerstones of System Verification</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Test Case Design Techniques as educated  by ISTQB</a:t>
            </a:r>
          </a:p>
        </p:txBody>
      </p:sp>
      <p:sp>
        <p:nvSpPr>
          <p:cNvPr id="8" name="Content Placeholder 7"/>
          <p:cNvSpPr>
            <a:spLocks noGrp="1"/>
          </p:cNvSpPr>
          <p:nvPr>
            <p:ph sz="quarter" idx="13"/>
          </p:nvPr>
        </p:nvSpPr>
        <p:spPr/>
        <p:txBody>
          <a:bodyPr/>
          <a:lstStyle/>
          <a:p>
            <a:r>
              <a:rPr lang="en-US" dirty="0"/>
              <a:t>Many of them are used during Product Development</a:t>
            </a:r>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2430896039"/>
              </p:ext>
            </p:extLst>
          </p:nvPr>
        </p:nvGraphicFramePr>
        <p:xfrm>
          <a:off x="417513" y="1089025"/>
          <a:ext cx="8229600" cy="33067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lstStyle/>
          <a:p>
            <a:r>
              <a:rPr lang="en-US" sz="1600" dirty="0"/>
              <a:t>Exploratory Testing can be described as a goal oriented wandering</a:t>
            </a:r>
          </a:p>
          <a:p>
            <a:r>
              <a:rPr lang="en-US" sz="1600" dirty="0"/>
              <a:t>There is a mission/goal described in a charter, but there is no planned route, just wander from the selected starting point</a:t>
            </a:r>
          </a:p>
          <a:p>
            <a:r>
              <a:rPr lang="en-US" sz="1600" dirty="0"/>
              <a:t>Create a charter describing what and how and which way you want to test </a:t>
            </a:r>
          </a:p>
          <a:p>
            <a:r>
              <a:rPr lang="en-US" sz="1600" dirty="0"/>
              <a:t>Describe duration of your test </a:t>
            </a:r>
          </a:p>
        </p:txBody>
      </p:sp>
      <p:sp>
        <p:nvSpPr>
          <p:cNvPr id="6" name="Title 5"/>
          <p:cNvSpPr>
            <a:spLocks noGrp="1"/>
          </p:cNvSpPr>
          <p:nvPr>
            <p:ph type="title"/>
          </p:nvPr>
        </p:nvSpPr>
        <p:spPr/>
        <p:txBody>
          <a:bodyPr/>
          <a:lstStyle/>
          <a:p>
            <a:r>
              <a:rPr lang="en-US" dirty="0"/>
              <a:t>Explaining Exploratory test</a:t>
            </a:r>
          </a:p>
        </p:txBody>
      </p:sp>
      <p:sp>
        <p:nvSpPr>
          <p:cNvPr id="8" name="Content Placeholder 7"/>
          <p:cNvSpPr>
            <a:spLocks noGrp="1"/>
          </p:cNvSpPr>
          <p:nvPr>
            <p:ph sz="quarter" idx="13"/>
          </p:nvPr>
        </p:nvSpPr>
        <p:spPr/>
        <p:txBody>
          <a:bodyPr/>
          <a:lstStyle/>
          <a:p>
            <a:r>
              <a:rPr lang="en-US" dirty="0"/>
              <a:t>(One) Definition</a:t>
            </a:r>
          </a:p>
        </p:txBody>
      </p:sp>
      <p:sp>
        <p:nvSpPr>
          <p:cNvPr id="5" name="TextBox 4"/>
          <p:cNvSpPr txBox="1"/>
          <p:nvPr/>
        </p:nvSpPr>
        <p:spPr>
          <a:xfrm>
            <a:off x="2967111" y="2873869"/>
            <a:ext cx="5678658" cy="1521919"/>
          </a:xfrm>
          <a:prstGeom prst="rect">
            <a:avLst/>
          </a:prstGeom>
          <a:solidFill>
            <a:schemeClr val="tx1"/>
          </a:solidFill>
        </p:spPr>
        <p:txBody>
          <a:bodyPr wrap="square" lIns="144000" tIns="144000" rIns="144000" bIns="144000" rtlCol="0">
            <a:spAutoFit/>
          </a:bodyPr>
          <a:lstStyle/>
          <a:p>
            <a:r>
              <a:rPr lang="en-US" sz="1600" dirty="0">
                <a:solidFill>
                  <a:schemeClr val="bg1"/>
                </a:solidFill>
                <a:latin typeface="+mn-lt"/>
              </a:rPr>
              <a:t>”Exploratory Testing is an interactive process of concurrent product exploration, test design and test execution. To the extent that the next test we do is influenced by the result of the last we did, we are doing exploratory testing.” </a:t>
            </a:r>
          </a:p>
          <a:p>
            <a:pPr algn="r"/>
            <a:r>
              <a:rPr lang="en-US" sz="1600" i="1" dirty="0">
                <a:solidFill>
                  <a:schemeClr val="bg1"/>
                </a:solidFill>
                <a:latin typeface="+mn-lt"/>
              </a:rPr>
              <a:t>James Bach, </a:t>
            </a:r>
            <a:r>
              <a:rPr lang="en-US" sz="1600" i="1" dirty="0" err="1">
                <a:solidFill>
                  <a:schemeClr val="bg1"/>
                </a:solidFill>
                <a:latin typeface="+mn-lt"/>
              </a:rPr>
              <a:t>Satisfice</a:t>
            </a:r>
            <a:endParaRPr lang="en-US" sz="1600" dirty="0">
              <a:solidFill>
                <a:schemeClr val="bg1"/>
              </a:solidFill>
              <a:latin typeface="+mn-lt"/>
            </a:endParaRPr>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p:cNvPicPr>
            <a:picLocks noChangeAspect="1"/>
          </p:cNvPicPr>
          <p:nvPr/>
        </p:nvPicPr>
        <p:blipFill rotWithShape="1">
          <a:blip r:embed="rId3"/>
          <a:srcRect l="11987" t="6834" b="4943"/>
          <a:stretch/>
        </p:blipFill>
        <p:spPr>
          <a:xfrm>
            <a:off x="-27296" y="-27600"/>
            <a:ext cx="9171296" cy="5171099"/>
          </a:xfrm>
          <a:prstGeom prst="rect">
            <a:avLst/>
          </a:prstGeom>
        </p:spPr>
      </p:pic>
      <p:sp>
        <p:nvSpPr>
          <p:cNvPr id="5" name="Rectangle 4"/>
          <p:cNvSpPr/>
          <p:nvPr/>
        </p:nvSpPr>
        <p:spPr>
          <a:xfrm>
            <a:off x="314325" y="232252"/>
            <a:ext cx="3141322" cy="607163"/>
          </a:xfrm>
          <a:prstGeom prst="rect">
            <a:avLst/>
          </a:prstGeom>
          <a:solidFill>
            <a:srgbClr val="FFFFFF">
              <a:alpha val="69804"/>
            </a:srgbClr>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a:solidFill>
                <a:schemeClr val="accent4"/>
              </a:solidFill>
            </a:endParaRPr>
          </a:p>
        </p:txBody>
      </p:sp>
      <p:sp>
        <p:nvSpPr>
          <p:cNvPr id="6" name="Title 5"/>
          <p:cNvSpPr>
            <a:spLocks noGrp="1"/>
          </p:cNvSpPr>
          <p:nvPr>
            <p:ph type="title"/>
          </p:nvPr>
        </p:nvSpPr>
        <p:spPr/>
        <p:txBody>
          <a:bodyPr/>
          <a:lstStyle/>
          <a:p>
            <a:r>
              <a:rPr lang="en-US" dirty="0"/>
              <a:t>Exploring Barcelona</a:t>
            </a:r>
          </a:p>
        </p:txBody>
      </p:sp>
      <p:sp>
        <p:nvSpPr>
          <p:cNvPr id="8" name="Content Placeholder 7"/>
          <p:cNvSpPr>
            <a:spLocks noGrp="1"/>
          </p:cNvSpPr>
          <p:nvPr>
            <p:ph sz="quarter" idx="13"/>
          </p:nvPr>
        </p:nvSpPr>
        <p:spPr/>
        <p:txBody>
          <a:bodyPr/>
          <a:lstStyle/>
          <a:p>
            <a:r>
              <a:rPr lang="en-US" dirty="0">
                <a:solidFill>
                  <a:schemeClr val="tx1"/>
                </a:solidFill>
              </a:rPr>
              <a:t>ET is a goal oriented wandering</a:t>
            </a:r>
          </a:p>
        </p:txBody>
      </p:sp>
      <p:sp>
        <p:nvSpPr>
          <p:cNvPr id="12" name="Oval 11"/>
          <p:cNvSpPr/>
          <p:nvPr/>
        </p:nvSpPr>
        <p:spPr>
          <a:xfrm>
            <a:off x="3443564" y="1472667"/>
            <a:ext cx="390156" cy="390152"/>
          </a:xfrm>
          <a:prstGeom prst="ellipse">
            <a:avLst/>
          </a:prstGeom>
          <a:noFill/>
          <a:ln w="57150">
            <a:solidFill>
              <a:srgbClr val="124192"/>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a:solidFill>
                <a:schemeClr val="accent4"/>
              </a:solidFill>
            </a:endParaRPr>
          </a:p>
        </p:txBody>
      </p:sp>
      <p:sp>
        <p:nvSpPr>
          <p:cNvPr id="13" name="Oval 12"/>
          <p:cNvSpPr/>
          <p:nvPr/>
        </p:nvSpPr>
        <p:spPr>
          <a:xfrm>
            <a:off x="4082181" y="332994"/>
            <a:ext cx="449574" cy="449574"/>
          </a:xfrm>
          <a:prstGeom prst="ellipse">
            <a:avLst/>
          </a:prstGeom>
          <a:noFill/>
          <a:ln w="57150">
            <a:solidFill>
              <a:srgbClr val="124192"/>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a:solidFill>
                <a:schemeClr val="accent4"/>
              </a:solidFill>
            </a:endParaRPr>
          </a:p>
        </p:txBody>
      </p:sp>
      <p:sp>
        <p:nvSpPr>
          <p:cNvPr id="15" name="Oval 14"/>
          <p:cNvSpPr/>
          <p:nvPr/>
        </p:nvSpPr>
        <p:spPr>
          <a:xfrm>
            <a:off x="2879969" y="1198577"/>
            <a:ext cx="402660" cy="402660"/>
          </a:xfrm>
          <a:prstGeom prst="ellipse">
            <a:avLst/>
          </a:prstGeom>
          <a:noFill/>
          <a:ln w="57150">
            <a:solidFill>
              <a:srgbClr val="124192"/>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a:solidFill>
                <a:schemeClr val="accent4"/>
              </a:solidFill>
            </a:endParaRPr>
          </a:p>
        </p:txBody>
      </p:sp>
      <p:sp>
        <p:nvSpPr>
          <p:cNvPr id="16" name="Oval 15"/>
          <p:cNvSpPr/>
          <p:nvPr/>
        </p:nvSpPr>
        <p:spPr>
          <a:xfrm>
            <a:off x="5405738" y="1198578"/>
            <a:ext cx="461436" cy="461436"/>
          </a:xfrm>
          <a:prstGeom prst="ellipse">
            <a:avLst/>
          </a:prstGeom>
          <a:noFill/>
          <a:ln w="57150">
            <a:solidFill>
              <a:srgbClr val="124192"/>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a:solidFill>
                <a:schemeClr val="accent4"/>
              </a:solidFill>
            </a:endParaRPr>
          </a:p>
        </p:txBody>
      </p:sp>
      <p:sp>
        <p:nvSpPr>
          <p:cNvPr id="17" name="Oval 16"/>
          <p:cNvSpPr/>
          <p:nvPr/>
        </p:nvSpPr>
        <p:spPr>
          <a:xfrm>
            <a:off x="3414556" y="3355375"/>
            <a:ext cx="368338" cy="368336"/>
          </a:xfrm>
          <a:prstGeom prst="ellipse">
            <a:avLst/>
          </a:prstGeom>
          <a:noFill/>
          <a:ln w="57150">
            <a:solidFill>
              <a:srgbClr val="124192"/>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a:solidFill>
                <a:schemeClr val="accent4"/>
              </a:solidFill>
            </a:endParaRPr>
          </a:p>
        </p:txBody>
      </p:sp>
      <p:cxnSp>
        <p:nvCxnSpPr>
          <p:cNvPr id="19" name="Straight Arrow Connector 18"/>
          <p:cNvCxnSpPr/>
          <p:nvPr/>
        </p:nvCxnSpPr>
        <p:spPr>
          <a:xfrm flipH="1" flipV="1">
            <a:off x="3658869" y="4311396"/>
            <a:ext cx="613864" cy="246321"/>
          </a:xfrm>
          <a:prstGeom prst="straightConnector1">
            <a:avLst/>
          </a:prstGeom>
          <a:ln w="381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p:nvPr/>
        </p:nvCxnSpPr>
        <p:spPr>
          <a:xfrm flipH="1">
            <a:off x="3439635" y="4325598"/>
            <a:ext cx="219234" cy="444137"/>
          </a:xfrm>
          <a:prstGeom prst="straightConnector1">
            <a:avLst/>
          </a:prstGeom>
          <a:ln w="381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H="1" flipV="1">
            <a:off x="3029301" y="4605339"/>
            <a:ext cx="426346" cy="173352"/>
          </a:xfrm>
          <a:prstGeom prst="straightConnector1">
            <a:avLst/>
          </a:prstGeom>
          <a:ln w="381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5" name="Straight Arrow Connector 24"/>
          <p:cNvCxnSpPr>
            <a:endCxn id="17" idx="3"/>
          </p:cNvCxnSpPr>
          <p:nvPr/>
        </p:nvCxnSpPr>
        <p:spPr>
          <a:xfrm flipV="1">
            <a:off x="3045005" y="3669769"/>
            <a:ext cx="423493" cy="935570"/>
          </a:xfrm>
          <a:prstGeom prst="straightConnector1">
            <a:avLst/>
          </a:prstGeom>
          <a:ln w="381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p:cNvCxnSpPr/>
          <p:nvPr/>
        </p:nvCxnSpPr>
        <p:spPr>
          <a:xfrm flipV="1">
            <a:off x="3632267" y="2882946"/>
            <a:ext cx="422450" cy="507491"/>
          </a:xfrm>
          <a:prstGeom prst="straightConnector1">
            <a:avLst/>
          </a:prstGeom>
          <a:ln w="381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9" name="Straight Arrow Connector 28"/>
          <p:cNvCxnSpPr/>
          <p:nvPr/>
        </p:nvCxnSpPr>
        <p:spPr>
          <a:xfrm flipH="1" flipV="1">
            <a:off x="3733242" y="2419384"/>
            <a:ext cx="333619" cy="463563"/>
          </a:xfrm>
          <a:prstGeom prst="straightConnector1">
            <a:avLst/>
          </a:prstGeom>
          <a:ln w="381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1" name="Straight Arrow Connector 30"/>
          <p:cNvCxnSpPr/>
          <p:nvPr/>
        </p:nvCxnSpPr>
        <p:spPr>
          <a:xfrm flipV="1">
            <a:off x="3724662" y="2137095"/>
            <a:ext cx="342199" cy="297320"/>
          </a:xfrm>
          <a:prstGeom prst="straightConnector1">
            <a:avLst/>
          </a:prstGeom>
          <a:ln w="381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36" name="Oval 35"/>
          <p:cNvSpPr/>
          <p:nvPr/>
        </p:nvSpPr>
        <p:spPr>
          <a:xfrm>
            <a:off x="4009494" y="2000012"/>
            <a:ext cx="338420" cy="34709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a:solidFill>
                <a:schemeClr val="accent4"/>
              </a:solidFill>
            </a:endParaRPr>
          </a:p>
        </p:txBody>
      </p:sp>
      <p:cxnSp>
        <p:nvCxnSpPr>
          <p:cNvPr id="38" name="Straight Arrow Connector 37"/>
          <p:cNvCxnSpPr>
            <a:stCxn id="36" idx="1"/>
            <a:endCxn id="12" idx="6"/>
          </p:cNvCxnSpPr>
          <p:nvPr/>
        </p:nvCxnSpPr>
        <p:spPr>
          <a:xfrm flipH="1" flipV="1">
            <a:off x="3833720" y="1667743"/>
            <a:ext cx="225334" cy="383100"/>
          </a:xfrm>
          <a:prstGeom prst="straightConnector1">
            <a:avLst/>
          </a:prstGeom>
          <a:ln w="381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39" name="Oval 38"/>
          <p:cNvSpPr/>
          <p:nvPr/>
        </p:nvSpPr>
        <p:spPr>
          <a:xfrm>
            <a:off x="3453501" y="3387747"/>
            <a:ext cx="296002" cy="30359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a:solidFill>
                <a:schemeClr val="accent4"/>
              </a:solidFill>
            </a:endParaRPr>
          </a:p>
        </p:txBody>
      </p:sp>
      <p:sp>
        <p:nvSpPr>
          <p:cNvPr id="40" name="Oval 39"/>
          <p:cNvSpPr/>
          <p:nvPr/>
        </p:nvSpPr>
        <p:spPr>
          <a:xfrm>
            <a:off x="3477223" y="1498425"/>
            <a:ext cx="325776" cy="334126"/>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a:solidFill>
                <a:schemeClr val="accent4"/>
              </a:solidFill>
            </a:endParaRPr>
          </a:p>
        </p:txBody>
      </p:sp>
      <p:cxnSp>
        <p:nvCxnSpPr>
          <p:cNvPr id="42" name="Straight Arrow Connector 41"/>
          <p:cNvCxnSpPr>
            <a:stCxn id="12" idx="2"/>
            <a:endCxn id="15" idx="5"/>
          </p:cNvCxnSpPr>
          <p:nvPr/>
        </p:nvCxnSpPr>
        <p:spPr>
          <a:xfrm flipH="1" flipV="1">
            <a:off x="3223661" y="1542269"/>
            <a:ext cx="219903" cy="125474"/>
          </a:xfrm>
          <a:prstGeom prst="straightConnector1">
            <a:avLst/>
          </a:prstGeom>
          <a:ln w="381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7" name="Straight Arrow Connector 46"/>
          <p:cNvCxnSpPr>
            <a:endCxn id="13" idx="3"/>
          </p:cNvCxnSpPr>
          <p:nvPr/>
        </p:nvCxnSpPr>
        <p:spPr>
          <a:xfrm flipV="1">
            <a:off x="3195452" y="716729"/>
            <a:ext cx="952568" cy="570114"/>
          </a:xfrm>
          <a:prstGeom prst="straightConnector1">
            <a:avLst/>
          </a:prstGeom>
          <a:ln w="381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48" name="Oval 47"/>
          <p:cNvSpPr/>
          <p:nvPr/>
        </p:nvSpPr>
        <p:spPr>
          <a:xfrm>
            <a:off x="2913859" y="1226301"/>
            <a:ext cx="344404" cy="3532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a:solidFill>
                <a:schemeClr val="accent4"/>
              </a:solidFill>
            </a:endParaRPr>
          </a:p>
        </p:txBody>
      </p:sp>
      <p:sp>
        <p:nvSpPr>
          <p:cNvPr id="60" name="&quot;No&quot; Symbol 59"/>
          <p:cNvSpPr/>
          <p:nvPr/>
        </p:nvSpPr>
        <p:spPr>
          <a:xfrm>
            <a:off x="5396256" y="1198577"/>
            <a:ext cx="484414" cy="466472"/>
          </a:xfrm>
          <a:prstGeom prst="noSmoking">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r>
              <a:rPr lang="en-US" dirty="0">
                <a:solidFill>
                  <a:schemeClr val="accent4"/>
                </a:solidFill>
              </a:rPr>
              <a:t> </a:t>
            </a:r>
          </a:p>
        </p:txBody>
      </p:sp>
      <p:sp>
        <p:nvSpPr>
          <p:cNvPr id="66" name="Oval 65"/>
          <p:cNvSpPr/>
          <p:nvPr/>
        </p:nvSpPr>
        <p:spPr>
          <a:xfrm>
            <a:off x="4104045" y="337677"/>
            <a:ext cx="415587" cy="43060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a:solidFill>
                <a:schemeClr val="accent4"/>
              </a:solidFill>
            </a:endParaRPr>
          </a:p>
        </p:txBody>
      </p:sp>
      <p:sp>
        <p:nvSpPr>
          <p:cNvPr id="67" name="Oval 66"/>
          <p:cNvSpPr/>
          <p:nvPr/>
        </p:nvSpPr>
        <p:spPr>
          <a:xfrm>
            <a:off x="5168569" y="117182"/>
            <a:ext cx="473856" cy="473856"/>
          </a:xfrm>
          <a:prstGeom prst="ellipse">
            <a:avLst/>
          </a:prstGeom>
          <a:noFill/>
          <a:ln w="57150">
            <a:solidFill>
              <a:srgbClr val="124192"/>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a:solidFill>
                <a:schemeClr val="accent4"/>
              </a:solidFill>
            </a:endParaRPr>
          </a:p>
        </p:txBody>
      </p:sp>
      <p:sp>
        <p:nvSpPr>
          <p:cNvPr id="57" name="&quot;No&quot; Symbol 56"/>
          <p:cNvSpPr/>
          <p:nvPr/>
        </p:nvSpPr>
        <p:spPr>
          <a:xfrm>
            <a:off x="5161837" y="122216"/>
            <a:ext cx="486856" cy="468822"/>
          </a:xfrm>
          <a:prstGeom prst="noSmoking">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a:solidFill>
                <a:schemeClr val="accent4"/>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7"/>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9"/>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1"/>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3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0"/>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42"/>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4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48"/>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57"/>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66"/>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5" grpId="0" animBg="1"/>
      <p:bldP spid="16" grpId="0" animBg="1"/>
      <p:bldP spid="17" grpId="0" animBg="1"/>
      <p:bldP spid="36" grpId="0" animBg="1"/>
      <p:bldP spid="39" grpId="0" animBg="1"/>
      <p:bldP spid="40" grpId="0" animBg="1"/>
      <p:bldP spid="48" grpId="0" animBg="1"/>
      <p:bldP spid="60" grpId="0" animBg="1"/>
      <p:bldP spid="66" grpId="0" animBg="1"/>
      <p:bldP spid="67" grpId="0" animBg="1"/>
      <p:bldP spid="5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3"/>
          </p:nvPr>
        </p:nvSpPr>
        <p:spPr/>
        <p:txBody>
          <a:bodyPr/>
          <a:lstStyle/>
          <a:p>
            <a:endParaRPr lang="en-US"/>
          </a:p>
        </p:txBody>
      </p:sp>
      <p:sp>
        <p:nvSpPr>
          <p:cNvPr id="4" name="Text Placeholder 3"/>
          <p:cNvSpPr>
            <a:spLocks noGrp="1"/>
          </p:cNvSpPr>
          <p:nvPr>
            <p:ph type="body" sz="quarter" idx="16"/>
          </p:nvPr>
        </p:nvSpPr>
        <p:spPr/>
        <p:txBody>
          <a:bodyPr/>
          <a:lstStyle/>
          <a:p>
            <a:endParaRPr lang="en-US"/>
          </a:p>
        </p:txBody>
      </p:sp>
      <p:sp>
        <p:nvSpPr>
          <p:cNvPr id="5" name="Text Placeholder 4"/>
          <p:cNvSpPr>
            <a:spLocks noGrp="1"/>
          </p:cNvSpPr>
          <p:nvPr>
            <p:ph type="body" sz="quarter" idx="17"/>
          </p:nvPr>
        </p:nvSpPr>
        <p:spPr/>
        <p:txBody>
          <a:bodyPr/>
          <a:lstStyle/>
          <a:p>
            <a:endParaRPr lang="en-US"/>
          </a:p>
        </p:txBody>
      </p:sp>
      <p:pic>
        <p:nvPicPr>
          <p:cNvPr id="1026" name="Picture 2" descr="https://lh4.googleusercontent.com/-YHYLblRTJvw/Uz2mzfaIJgI/AAAAAAAAEx0/pBIIV0nPGI0/w1313-h985-no/Barcelona%2B2014%2B-%2B186"/>
          <p:cNvPicPr>
            <a:picLocks noChangeAspect="1" noChangeArrowheads="1"/>
          </p:cNvPicPr>
          <p:nvPr/>
        </p:nvPicPr>
        <p:blipFill>
          <a:blip r:embed="rId2"/>
          <a:srcRect/>
          <a:stretch>
            <a:fillRect/>
          </a:stretch>
        </p:blipFill>
        <p:spPr bwMode="auto">
          <a:xfrm>
            <a:off x="0" y="-1017973"/>
            <a:ext cx="9144000" cy="6859742"/>
          </a:xfrm>
          <a:prstGeom prst="rect">
            <a:avLst/>
          </a:prstGeom>
          <a:noFill/>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ly6kK7YS1eUbIlOayoz8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kia_PowerPoint_Template">
  <a:themeElements>
    <a:clrScheme name="Nokia Master Theme">
      <a:dk1>
        <a:srgbClr val="124191"/>
      </a:dk1>
      <a:lt1>
        <a:srgbClr val="FFFFFF"/>
      </a:lt1>
      <a:dk2>
        <a:srgbClr val="FFFFFF"/>
      </a:dk2>
      <a:lt2>
        <a:srgbClr val="68717A"/>
      </a:lt2>
      <a:accent1>
        <a:srgbClr val="00C9FF"/>
      </a:accent1>
      <a:accent2>
        <a:srgbClr val="00C9FF"/>
      </a:accent2>
      <a:accent3>
        <a:srgbClr val="00C9FF"/>
      </a:accent3>
      <a:accent4>
        <a:srgbClr val="A8BBC0"/>
      </a:accent4>
      <a:accent5>
        <a:srgbClr val="A8BBC0"/>
      </a:accent5>
      <a:accent6>
        <a:srgbClr val="D8D9DA"/>
      </a:accent6>
      <a:hlink>
        <a:srgbClr val="124191"/>
      </a:hlink>
      <a:folHlink>
        <a:srgbClr val="124191"/>
      </a:folHlink>
    </a:clrScheme>
    <a:fontScheme name="Nokia Pure v2">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19050" cmpd="sng">
          <a:solidFill>
            <a:schemeClr val="accent3"/>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okia PowerPoint Template Nokia Pure v12" id="{7AC05BEF-BBDF-4CF1-AA23-A676535EABCE}" vid="{991539CA-B441-4AED-8339-F6770207F6A2}"/>
    </a:ext>
  </a:extLst>
</a:theme>
</file>

<file path=ppt/theme/theme2.xml><?xml version="1.0" encoding="utf-8"?>
<a:theme xmlns:a="http://schemas.openxmlformats.org/drawingml/2006/main" name="Nokia Master Blue Background">
  <a:themeElements>
    <a:clrScheme name="Nokia Master Theme">
      <a:dk1>
        <a:srgbClr val="124191"/>
      </a:dk1>
      <a:lt1>
        <a:srgbClr val="FFFFFF"/>
      </a:lt1>
      <a:dk2>
        <a:srgbClr val="FFFFFF"/>
      </a:dk2>
      <a:lt2>
        <a:srgbClr val="68717A"/>
      </a:lt2>
      <a:accent1>
        <a:srgbClr val="00C9FF"/>
      </a:accent1>
      <a:accent2>
        <a:srgbClr val="00C9FF"/>
      </a:accent2>
      <a:accent3>
        <a:srgbClr val="00C9FF"/>
      </a:accent3>
      <a:accent4>
        <a:srgbClr val="A8BBC0"/>
      </a:accent4>
      <a:accent5>
        <a:srgbClr val="A8BBC0"/>
      </a:accent5>
      <a:accent6>
        <a:srgbClr val="D8D9DA"/>
      </a:accent6>
      <a:hlink>
        <a:srgbClr val="124191"/>
      </a:hlink>
      <a:folHlink>
        <a:srgbClr val="124191"/>
      </a:folHlink>
    </a:clrScheme>
    <a:fontScheme name="Nokia Pure v2">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19050" cmpd="sng">
          <a:solidFill>
            <a:schemeClr val="accent3"/>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err="1" smtClean="0">
            <a:latin typeface="+mn-lt"/>
          </a:defRPr>
        </a:defPPr>
      </a:lstStyle>
    </a:txDef>
  </a:objectDefaults>
  <a:extraClrSchemeLst/>
  <a:extLst>
    <a:ext uri="{05A4C25C-085E-4340-85A3-A5531E510DB2}">
      <thm15:themeFamily xmlns:thm15="http://schemas.microsoft.com/office/thememl/2012/main" name="Nokia PowerPoint Template Nokia Pure v12" id="{7AC05BEF-BBDF-4CF1-AA23-A676535EABCE}" vid="{AF106B15-0C1E-44CE-A53A-F2CB8A6EA7E7}"/>
    </a:ext>
  </a:extLst>
</a:theme>
</file>

<file path=ppt/theme/theme3.xml><?xml version="1.0" encoding="utf-8"?>
<a:theme xmlns:a="http://schemas.openxmlformats.org/drawingml/2006/main" name="1_CORP_PPT_Temp_Pure_V23">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fontAlgn="auto">
          <a:spcBef>
            <a:spcPts val="0"/>
          </a:spcBef>
          <a:spcAft>
            <a:spcPts val="0"/>
          </a:spcAft>
          <a:defRPr sz="1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noAutofit/>
      </a:bodyPr>
      <a:lstStyle>
        <a:defPPr marL="0" indent="0">
          <a:spcBef>
            <a:spcPts val="0"/>
          </a:spcBef>
          <a:buNone/>
          <a:defRPr sz="1200" dirty="0" smtClean="0">
            <a:solidFill>
              <a:schemeClr val="tx2"/>
            </a:solidFill>
            <a:latin typeface="+mn-lt"/>
            <a:cs typeface="Nokia Pure Headline Light"/>
          </a:defRPr>
        </a:defPPr>
      </a:lstStyle>
    </a:txDef>
  </a:objectDefaults>
  <a:extraClrSchemeLst/>
  <a:extLst>
    <a:ext uri="{05A4C25C-085E-4340-85A3-A5531E510DB2}">
      <thm15:themeFamily xmlns:thm15="http://schemas.microsoft.com/office/thememl/2012/main" name="PPT_Example_Newtheme_v31" id="{14F027FA-0CD9-45EA-88DA-76E6A07877D1}" vid="{240C5F83-208A-4B2D-BB16-50BA2E28B4BA}"/>
    </a:ext>
  </a:extLst>
</a:theme>
</file>

<file path=ppt/theme/theme4.xml><?xml version="1.0" encoding="utf-8"?>
<a:theme xmlns:a="http://schemas.openxmlformats.org/drawingml/2006/main" name="11_Nokia White Master with headlin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April 2016">
      <a:majorFont>
        <a:latin typeface="Nokia Pure Headline Light"/>
        <a:ea typeface=""/>
        <a:cs typeface=""/>
      </a:majorFont>
      <a:minorFont>
        <a:latin typeface="Nokia Pure Tex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200" dirty="0" smtClean="0">
            <a:solidFill>
              <a:schemeClr val="bg1"/>
            </a:solidFill>
            <a:latin typeface="Nokia Pure Text Light" panose="020B0403020202020204" pitchFamily="34" charset="0"/>
            <a:ea typeface="Nokia Pure Text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72000" tIns="72000" rIns="72000" bIns="72000" rtlCol="0">
        <a:spAutoFit/>
      </a:bodyPr>
      <a:lstStyle>
        <a:defPPr defTabSz="360000">
          <a:spcAft>
            <a:spcPts val="600"/>
          </a:spcAft>
          <a:tabLst>
            <a:tab pos="360000" algn="l"/>
          </a:tabLst>
          <a:defRPr sz="1200" dirty="0" smtClean="0">
            <a:solidFill>
              <a:schemeClr val="tx2"/>
            </a:solidFill>
            <a:latin typeface="Nokia Pure Headline Light" panose="020B0304020202020204" pitchFamily="34" charset="0"/>
          </a:defRPr>
        </a:defPPr>
      </a:lstStyle>
    </a:txDef>
  </a:objectDefaults>
  <a:extraClrSchemeLst/>
  <a:extLst>
    <a:ext uri="{05A4C25C-085E-4340-85A3-A5531E510DB2}">
      <thm15:themeFamily xmlns:thm15="http://schemas.microsoft.com/office/thememl/2012/main" name="Nokia_Pure_PPT_CORP_V2.1.potx [Read-Only]" id="{704E01D6-4743-4046-9ABA-B60B09A7D972}" vid="{B0F3B134-F41D-4147-A025-31C7A560D609}"/>
    </a:ext>
  </a:extLst>
</a:theme>
</file>

<file path=ppt/theme/theme5.xml><?xml version="1.0" encoding="utf-8"?>
<a:theme xmlns:a="http://schemas.openxmlformats.org/drawingml/2006/main" name="1_Nokia_PowerPoint_Template">
  <a:themeElements>
    <a:clrScheme name="Nokia Master Theme">
      <a:dk1>
        <a:srgbClr val="124191"/>
      </a:dk1>
      <a:lt1>
        <a:srgbClr val="FFFFFF"/>
      </a:lt1>
      <a:dk2>
        <a:srgbClr val="FFFFFF"/>
      </a:dk2>
      <a:lt2>
        <a:srgbClr val="68717A"/>
      </a:lt2>
      <a:accent1>
        <a:srgbClr val="00C9FF"/>
      </a:accent1>
      <a:accent2>
        <a:srgbClr val="00C9FF"/>
      </a:accent2>
      <a:accent3>
        <a:srgbClr val="00C9FF"/>
      </a:accent3>
      <a:accent4>
        <a:srgbClr val="A8BBC0"/>
      </a:accent4>
      <a:accent5>
        <a:srgbClr val="A8BBC0"/>
      </a:accent5>
      <a:accent6>
        <a:srgbClr val="D8D9DA"/>
      </a:accent6>
      <a:hlink>
        <a:srgbClr val="124191"/>
      </a:hlink>
      <a:folHlink>
        <a:srgbClr val="124191"/>
      </a:folHlink>
    </a:clrScheme>
    <a:fontScheme name="Nokia Pure v2">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19050" cmpd="sng">
          <a:solidFill>
            <a:schemeClr val="accent3"/>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okia PowerPoint Template Nokia Pure v12" id="{7AC05BEF-BBDF-4CF1-AA23-A676535EABCE}" vid="{991539CA-B441-4AED-8339-F6770207F6A2}"/>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Nokia_PowerPoint_Template</Template>
  <TotalTime>0</TotalTime>
  <Words>2076</Words>
  <Application>Microsoft Office PowerPoint</Application>
  <PresentationFormat>On-screen Show (16:9)</PresentationFormat>
  <Paragraphs>374</Paragraphs>
  <Slides>28</Slides>
  <Notes>15</Notes>
  <HiddenSlides>0</HiddenSlides>
  <MMClips>0</MMClips>
  <ScaleCrop>false</ScaleCrop>
  <HeadingPairs>
    <vt:vector size="8" baseType="variant">
      <vt:variant>
        <vt:lpstr>Fonts Used</vt:lpstr>
      </vt:variant>
      <vt:variant>
        <vt:i4>15</vt:i4>
      </vt:variant>
      <vt:variant>
        <vt:lpstr>Theme</vt:lpstr>
      </vt:variant>
      <vt:variant>
        <vt:i4>5</vt:i4>
      </vt:variant>
      <vt:variant>
        <vt:lpstr>Embedded OLE Servers</vt:lpstr>
      </vt:variant>
      <vt:variant>
        <vt:i4>1</vt:i4>
      </vt:variant>
      <vt:variant>
        <vt:lpstr>Slide Titles</vt:lpstr>
      </vt:variant>
      <vt:variant>
        <vt:i4>28</vt:i4>
      </vt:variant>
    </vt:vector>
  </HeadingPairs>
  <TitlesOfParts>
    <vt:vector size="49" baseType="lpstr">
      <vt:lpstr>MS PGothic</vt:lpstr>
      <vt:lpstr>Arial</vt:lpstr>
      <vt:lpstr>Arial MT</vt:lpstr>
      <vt:lpstr>Calibri</vt:lpstr>
      <vt:lpstr>Lucida Grande</vt:lpstr>
      <vt:lpstr>Nokia Pure Headline</vt:lpstr>
      <vt:lpstr>Nokia Pure Headline Extra Bold</vt:lpstr>
      <vt:lpstr>Nokia Pure Headline Light</vt:lpstr>
      <vt:lpstr>Nokia Pure Headline Ultra Light</vt:lpstr>
      <vt:lpstr>Nokia Pure Text</vt:lpstr>
      <vt:lpstr>Nokia Pure Text Light</vt:lpstr>
      <vt:lpstr>Tahoma</vt:lpstr>
      <vt:lpstr>Trebuchet MS</vt:lpstr>
      <vt:lpstr>Wingdings</vt:lpstr>
      <vt:lpstr>ヒラギノ角ゴ Pro W3</vt:lpstr>
      <vt:lpstr>Nokia_PowerPoint_Template</vt:lpstr>
      <vt:lpstr>Nokia Master Blue Background</vt:lpstr>
      <vt:lpstr>1_CORP_PPT_Temp_Pure_V23</vt:lpstr>
      <vt:lpstr>11_Nokia White Master with headline</vt:lpstr>
      <vt:lpstr>1_Nokia_PowerPoint_Template</vt:lpstr>
      <vt:lpstr>think-cell Slide</vt:lpstr>
      <vt:lpstr>PowerPoint Presentation</vt:lpstr>
      <vt:lpstr>Introduction Szilárd Széll – DevOps Evangelist, Test Coach, NOKIA  </vt:lpstr>
      <vt:lpstr>My goal is…</vt:lpstr>
      <vt:lpstr>Agenda for today</vt:lpstr>
      <vt:lpstr>Nokia as a house of Testing</vt:lpstr>
      <vt:lpstr>Test Case Design Techniques as educated  by ISTQB</vt:lpstr>
      <vt:lpstr>Explaining Exploratory test</vt:lpstr>
      <vt:lpstr>Exploring Barcelona</vt:lpstr>
      <vt:lpstr>PowerPoint Presentation</vt:lpstr>
      <vt:lpstr>Explaining Exploratory test</vt:lpstr>
      <vt:lpstr>Explaining Exploratory test</vt:lpstr>
      <vt:lpstr>Explaining Exploratory test</vt:lpstr>
      <vt:lpstr>Explaining Exploratory test</vt:lpstr>
      <vt:lpstr>Explaining Exploratory test</vt:lpstr>
      <vt:lpstr>Agenda for today</vt:lpstr>
      <vt:lpstr>Bug Hunting</vt:lpstr>
      <vt:lpstr>Bug Hunting</vt:lpstr>
      <vt:lpstr>Bug Hunting</vt:lpstr>
      <vt:lpstr>Bug Hunting </vt:lpstr>
      <vt:lpstr>Bug Hunting</vt:lpstr>
      <vt:lpstr>Agenda for today</vt:lpstr>
      <vt:lpstr>DevOps</vt:lpstr>
      <vt:lpstr>PowerPoint Presentation</vt:lpstr>
      <vt:lpstr>Scaled Agile Framework</vt:lpstr>
      <vt:lpstr>Scaled Agile Framework</vt:lpstr>
      <vt:lpstr>Agenda for today</vt:lpstr>
      <vt:lpstr>Lessons Learne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4-09-10T19:13:36Z</dcterms:created>
  <dcterms:modified xsi:type="dcterms:W3CDTF">2019-03-17T17:30:31Z</dcterms:modified>
</cp:coreProperties>
</file>